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heme/theme2.xml" ContentType="application/vnd.openxmlformats-officedocument.them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6"/>
  </p:notesMasterIdLst>
  <p:sldIdLst>
    <p:sldId id="256" r:id="rId2"/>
    <p:sldId id="257" r:id="rId3"/>
    <p:sldId id="316" r:id="rId4"/>
    <p:sldId id="318" r:id="rId5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T/ESS-pw Wolf, Philip" initials="PW" lastIdx="1" clrIdx="0">
    <p:extLst>
      <p:ext uri="{19B8F6BF-5375-455C-9EA6-DF929625EA0E}">
        <p15:presenceInfo xmlns:p15="http://schemas.microsoft.com/office/powerpoint/2012/main" userId="S::philip.wolf@stihl.at::c5a58edc-d261-4459-8924-829f862075e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4" autoAdjust="0"/>
    <p:restoredTop sz="94660"/>
  </p:normalViewPr>
  <p:slideViewPr>
    <p:cSldViewPr snapToGrid="0" showGuides="1">
      <p:cViewPr varScale="1">
        <p:scale>
          <a:sx n="112" d="100"/>
          <a:sy n="112" d="100"/>
        </p:scale>
        <p:origin x="552" y="13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openxmlformats.org/officeDocument/2006/relationships/customXml" Target="../customXml/item1.xml"/><Relationship Id="rId3" Type="http://schemas.openxmlformats.org/officeDocument/2006/relationships/slide" Target="slides/slide2.xml"/><Relationship Id="rId7" Type="http://schemas.openxmlformats.org/officeDocument/2006/relationships/commentAuthors" Target="commentAuthors.xml"/><Relationship Id="rId12" Type="http://schemas.microsoft.com/office/2016/11/relationships/changesInfo" Target="changesInfos/changesInfo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customXml" Target="../customXml/item3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Relationship Id="rId14" Type="http://schemas.openxmlformats.org/officeDocument/2006/relationships/customXml" Target="../customXml/item2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T/ESS-pw Wolf, Philip" userId="c5a58edc-d261-4459-8924-829f862075e0" providerId="ADAL" clId="{BA986FD8-24F6-4E4D-A13E-D51E4B4EEBD3}"/>
    <pc:docChg chg="undo custSel addSld delSld modSld">
      <pc:chgData name="AT/ESS-pw Wolf, Philip" userId="c5a58edc-d261-4459-8924-829f862075e0" providerId="ADAL" clId="{BA986FD8-24F6-4E4D-A13E-D51E4B4EEBD3}" dt="2024-11-27T14:52:46.933" v="307" actId="47"/>
      <pc:docMkLst>
        <pc:docMk/>
      </pc:docMkLst>
      <pc:sldChg chg="delSp modSp mod">
        <pc:chgData name="AT/ESS-pw Wolf, Philip" userId="c5a58edc-d261-4459-8924-829f862075e0" providerId="ADAL" clId="{BA986FD8-24F6-4E4D-A13E-D51E4B4EEBD3}" dt="2024-11-25T14:09:57.722" v="111" actId="1076"/>
        <pc:sldMkLst>
          <pc:docMk/>
          <pc:sldMk cId="2172557671" sldId="257"/>
        </pc:sldMkLst>
        <pc:spChg chg="mod">
          <ac:chgData name="AT/ESS-pw Wolf, Philip" userId="c5a58edc-d261-4459-8924-829f862075e0" providerId="ADAL" clId="{BA986FD8-24F6-4E4D-A13E-D51E4B4EEBD3}" dt="2024-11-25T14:09:38.071" v="108" actId="14100"/>
          <ac:spMkLst>
            <pc:docMk/>
            <pc:sldMk cId="2172557671" sldId="257"/>
            <ac:spMk id="4" creationId="{B9A605D5-5C08-F2EE-4118-D7A09143B02A}"/>
          </ac:spMkLst>
        </pc:spChg>
        <pc:spChg chg="mod">
          <ac:chgData name="AT/ESS-pw Wolf, Philip" userId="c5a58edc-d261-4459-8924-829f862075e0" providerId="ADAL" clId="{BA986FD8-24F6-4E4D-A13E-D51E4B4EEBD3}" dt="2024-11-25T14:09:42.297" v="109" actId="14100"/>
          <ac:spMkLst>
            <pc:docMk/>
            <pc:sldMk cId="2172557671" sldId="257"/>
            <ac:spMk id="6" creationId="{E4D8394F-78FC-41B8-C19D-13EFB8EBDEC5}"/>
          </ac:spMkLst>
        </pc:spChg>
        <pc:spChg chg="del mod">
          <ac:chgData name="AT/ESS-pw Wolf, Philip" userId="c5a58edc-d261-4459-8924-829f862075e0" providerId="ADAL" clId="{BA986FD8-24F6-4E4D-A13E-D51E4B4EEBD3}" dt="2024-11-25T14:00:18.934" v="2"/>
          <ac:spMkLst>
            <pc:docMk/>
            <pc:sldMk cId="2172557671" sldId="257"/>
            <ac:spMk id="9" creationId="{E5FED819-FA2E-6E43-9BA3-DC9F2313F20B}"/>
          </ac:spMkLst>
        </pc:spChg>
        <pc:spChg chg="mod">
          <ac:chgData name="AT/ESS-pw Wolf, Philip" userId="c5a58edc-d261-4459-8924-829f862075e0" providerId="ADAL" clId="{BA986FD8-24F6-4E4D-A13E-D51E4B4EEBD3}" dt="2024-11-25T14:02:42.147" v="30" actId="1076"/>
          <ac:spMkLst>
            <pc:docMk/>
            <pc:sldMk cId="2172557671" sldId="257"/>
            <ac:spMk id="10" creationId="{92DC0F83-51EF-6D57-F093-88CC68B82352}"/>
          </ac:spMkLst>
        </pc:spChg>
        <pc:spChg chg="mod">
          <ac:chgData name="AT/ESS-pw Wolf, Philip" userId="c5a58edc-d261-4459-8924-829f862075e0" providerId="ADAL" clId="{BA986FD8-24F6-4E4D-A13E-D51E4B4EEBD3}" dt="2024-11-25T14:03:54.963" v="51" actId="1076"/>
          <ac:spMkLst>
            <pc:docMk/>
            <pc:sldMk cId="2172557671" sldId="257"/>
            <ac:spMk id="11" creationId="{4AB35C4A-DE88-A0CF-EB26-651B82BBF20C}"/>
          </ac:spMkLst>
        </pc:spChg>
        <pc:spChg chg="mod">
          <ac:chgData name="AT/ESS-pw Wolf, Philip" userId="c5a58edc-d261-4459-8924-829f862075e0" providerId="ADAL" clId="{BA986FD8-24F6-4E4D-A13E-D51E4B4EEBD3}" dt="2024-11-25T14:09:57.722" v="111" actId="1076"/>
          <ac:spMkLst>
            <pc:docMk/>
            <pc:sldMk cId="2172557671" sldId="257"/>
            <ac:spMk id="22" creationId="{D8CCCBAE-BFEB-EBC0-CCB2-45A167E2B634}"/>
          </ac:spMkLst>
        </pc:spChg>
        <pc:cxnChg chg="mod">
          <ac:chgData name="AT/ESS-pw Wolf, Philip" userId="c5a58edc-d261-4459-8924-829f862075e0" providerId="ADAL" clId="{BA986FD8-24F6-4E4D-A13E-D51E4B4EEBD3}" dt="2024-11-25T14:09:38.071" v="108" actId="14100"/>
          <ac:cxnSpMkLst>
            <pc:docMk/>
            <pc:sldMk cId="2172557671" sldId="257"/>
            <ac:cxnSpMk id="29" creationId="{6E4C1B07-6ED1-5202-0DC2-2A022BFE1E08}"/>
          </ac:cxnSpMkLst>
        </pc:cxnChg>
        <pc:cxnChg chg="mod">
          <ac:chgData name="AT/ESS-pw Wolf, Philip" userId="c5a58edc-d261-4459-8924-829f862075e0" providerId="ADAL" clId="{BA986FD8-24F6-4E4D-A13E-D51E4B4EEBD3}" dt="2024-11-25T14:09:38.071" v="108" actId="14100"/>
          <ac:cxnSpMkLst>
            <pc:docMk/>
            <pc:sldMk cId="2172557671" sldId="257"/>
            <ac:cxnSpMk id="30" creationId="{766044CC-70B6-6906-D6C0-AE5E08C8BCA4}"/>
          </ac:cxnSpMkLst>
        </pc:cxnChg>
      </pc:sldChg>
      <pc:sldChg chg="modSp add del mod">
        <pc:chgData name="AT/ESS-pw Wolf, Philip" userId="c5a58edc-d261-4459-8924-829f862075e0" providerId="ADAL" clId="{BA986FD8-24F6-4E4D-A13E-D51E4B4EEBD3}" dt="2024-11-27T14:52:45.735" v="306" actId="47"/>
        <pc:sldMkLst>
          <pc:docMk/>
          <pc:sldMk cId="130910520" sldId="315"/>
        </pc:sldMkLst>
        <pc:picChg chg="mod">
          <ac:chgData name="AT/ESS-pw Wolf, Philip" userId="c5a58edc-d261-4459-8924-829f862075e0" providerId="ADAL" clId="{BA986FD8-24F6-4E4D-A13E-D51E4B4EEBD3}" dt="2024-11-25T14:31:12.570" v="115" actId="1076"/>
          <ac:picMkLst>
            <pc:docMk/>
            <pc:sldMk cId="130910520" sldId="315"/>
            <ac:picMk id="7" creationId="{BEF5E7D3-04AD-4B3E-9168-0A333A97EB3A}"/>
          </ac:picMkLst>
        </pc:picChg>
      </pc:sldChg>
      <pc:sldChg chg="addSp delSp modSp new mod">
        <pc:chgData name="AT/ESS-pw Wolf, Philip" userId="c5a58edc-d261-4459-8924-829f862075e0" providerId="ADAL" clId="{BA986FD8-24F6-4E4D-A13E-D51E4B4EEBD3}" dt="2024-11-26T16:34:39.229" v="281" actId="1076"/>
        <pc:sldMkLst>
          <pc:docMk/>
          <pc:sldMk cId="602225961" sldId="316"/>
        </pc:sldMkLst>
        <pc:spChg chg="del">
          <ac:chgData name="AT/ESS-pw Wolf, Philip" userId="c5a58edc-d261-4459-8924-829f862075e0" providerId="ADAL" clId="{BA986FD8-24F6-4E4D-A13E-D51E4B4EEBD3}" dt="2024-11-26T14:34:22.629" v="117" actId="478"/>
          <ac:spMkLst>
            <pc:docMk/>
            <pc:sldMk cId="602225961" sldId="316"/>
            <ac:spMk id="4" creationId="{129D774B-FC8E-7D45-8117-4F93E4C94DFA}"/>
          </ac:spMkLst>
        </pc:spChg>
        <pc:spChg chg="add mod">
          <ac:chgData name="AT/ESS-pw Wolf, Philip" userId="c5a58edc-d261-4459-8924-829f862075e0" providerId="ADAL" clId="{BA986FD8-24F6-4E4D-A13E-D51E4B4EEBD3}" dt="2024-11-26T16:31:03.559" v="224" actId="1076"/>
          <ac:spMkLst>
            <pc:docMk/>
            <pc:sldMk cId="602225961" sldId="316"/>
            <ac:spMk id="19" creationId="{4BF7F703-9606-8F83-0CAA-A196F3CBC3A1}"/>
          </ac:spMkLst>
        </pc:spChg>
        <pc:spChg chg="add mod">
          <ac:chgData name="AT/ESS-pw Wolf, Philip" userId="c5a58edc-d261-4459-8924-829f862075e0" providerId="ADAL" clId="{BA986FD8-24F6-4E4D-A13E-D51E4B4EEBD3}" dt="2024-11-26T16:32:35.160" v="254" actId="1076"/>
          <ac:spMkLst>
            <pc:docMk/>
            <pc:sldMk cId="602225961" sldId="316"/>
            <ac:spMk id="20" creationId="{75F46C8F-CFA8-C0AE-184F-3F07A81A8254}"/>
          </ac:spMkLst>
        </pc:spChg>
        <pc:spChg chg="add mod">
          <ac:chgData name="AT/ESS-pw Wolf, Philip" userId="c5a58edc-d261-4459-8924-829f862075e0" providerId="ADAL" clId="{BA986FD8-24F6-4E4D-A13E-D51E4B4EEBD3}" dt="2024-11-26T16:32:14.796" v="244" actId="1076"/>
          <ac:spMkLst>
            <pc:docMk/>
            <pc:sldMk cId="602225961" sldId="316"/>
            <ac:spMk id="28" creationId="{83578507-79D1-A977-967D-F3E40DB4F1AF}"/>
          </ac:spMkLst>
        </pc:spChg>
        <pc:spChg chg="add mod">
          <ac:chgData name="AT/ESS-pw Wolf, Philip" userId="c5a58edc-d261-4459-8924-829f862075e0" providerId="ADAL" clId="{BA986FD8-24F6-4E4D-A13E-D51E4B4EEBD3}" dt="2024-11-26T16:32:22.293" v="247" actId="20577"/>
          <ac:spMkLst>
            <pc:docMk/>
            <pc:sldMk cId="602225961" sldId="316"/>
            <ac:spMk id="29" creationId="{F8B6C91B-ADB7-B4C2-9916-A16CA05B277C}"/>
          </ac:spMkLst>
        </pc:spChg>
        <pc:spChg chg="add mod">
          <ac:chgData name="AT/ESS-pw Wolf, Philip" userId="c5a58edc-d261-4459-8924-829f862075e0" providerId="ADAL" clId="{BA986FD8-24F6-4E4D-A13E-D51E4B4EEBD3}" dt="2024-11-26T16:33:54.111" v="267" actId="1076"/>
          <ac:spMkLst>
            <pc:docMk/>
            <pc:sldMk cId="602225961" sldId="316"/>
            <ac:spMk id="30" creationId="{6C90D882-FE5F-D4D6-1CFD-912E09EBA2A4}"/>
          </ac:spMkLst>
        </pc:spChg>
        <pc:spChg chg="add mod">
          <ac:chgData name="AT/ESS-pw Wolf, Philip" userId="c5a58edc-d261-4459-8924-829f862075e0" providerId="ADAL" clId="{BA986FD8-24F6-4E4D-A13E-D51E4B4EEBD3}" dt="2024-11-26T16:34:34.612" v="280" actId="208"/>
          <ac:spMkLst>
            <pc:docMk/>
            <pc:sldMk cId="602225961" sldId="316"/>
            <ac:spMk id="31" creationId="{52A68E31-6801-A041-C7C1-BBD233484412}"/>
          </ac:spMkLst>
        </pc:spChg>
        <pc:spChg chg="add mod">
          <ac:chgData name="AT/ESS-pw Wolf, Philip" userId="c5a58edc-d261-4459-8924-829f862075e0" providerId="ADAL" clId="{BA986FD8-24F6-4E4D-A13E-D51E4B4EEBD3}" dt="2024-11-26T16:34:39.229" v="281" actId="1076"/>
          <ac:spMkLst>
            <pc:docMk/>
            <pc:sldMk cId="602225961" sldId="316"/>
            <ac:spMk id="32" creationId="{ABE755BE-BE88-1BE6-44AF-A64B52584022}"/>
          </ac:spMkLst>
        </pc:spChg>
        <pc:grpChg chg="add mod">
          <ac:chgData name="AT/ESS-pw Wolf, Philip" userId="c5a58edc-d261-4459-8924-829f862075e0" providerId="ADAL" clId="{BA986FD8-24F6-4E4D-A13E-D51E4B4EEBD3}" dt="2024-11-26T16:30:07.591" v="211" actId="164"/>
          <ac:grpSpMkLst>
            <pc:docMk/>
            <pc:sldMk cId="602225961" sldId="316"/>
            <ac:grpSpMk id="21" creationId="{FB0DD613-D65A-1FDE-A9AA-76B4E4216600}"/>
          </ac:grpSpMkLst>
        </pc:grpChg>
        <pc:grpChg chg="add mod">
          <ac:chgData name="AT/ESS-pw Wolf, Philip" userId="c5a58edc-d261-4459-8924-829f862075e0" providerId="ADAL" clId="{BA986FD8-24F6-4E4D-A13E-D51E4B4EEBD3}" dt="2024-11-26T16:31:00.925" v="223" actId="1076"/>
          <ac:grpSpMkLst>
            <pc:docMk/>
            <pc:sldMk cId="602225961" sldId="316"/>
            <ac:grpSpMk id="22" creationId="{62145B3B-FDE2-5B59-AA06-5F32121B0FE2}"/>
          </ac:grpSpMkLst>
        </pc:grpChg>
        <pc:picChg chg="add mod">
          <ac:chgData name="AT/ESS-pw Wolf, Philip" userId="c5a58edc-d261-4459-8924-829f862075e0" providerId="ADAL" clId="{BA986FD8-24F6-4E4D-A13E-D51E4B4EEBD3}" dt="2024-11-26T16:31:00.925" v="223" actId="1076"/>
          <ac:picMkLst>
            <pc:docMk/>
            <pc:sldMk cId="602225961" sldId="316"/>
            <ac:picMk id="47106" creationId="{B228ECE2-7DBF-DD2B-8972-9AE5630BA7C8}"/>
          </ac:picMkLst>
        </pc:picChg>
        <pc:cxnChg chg="add mod">
          <ac:chgData name="AT/ESS-pw Wolf, Philip" userId="c5a58edc-d261-4459-8924-829f862075e0" providerId="ADAL" clId="{BA986FD8-24F6-4E4D-A13E-D51E4B4EEBD3}" dt="2024-11-26T16:31:00.925" v="223" actId="1076"/>
          <ac:cxnSpMkLst>
            <pc:docMk/>
            <pc:sldMk cId="602225961" sldId="316"/>
            <ac:cxnSpMk id="6" creationId="{F14AAB56-BDCB-373D-D878-199546E51E47}"/>
          </ac:cxnSpMkLst>
        </pc:cxnChg>
        <pc:cxnChg chg="add mod">
          <ac:chgData name="AT/ESS-pw Wolf, Philip" userId="c5a58edc-d261-4459-8924-829f862075e0" providerId="ADAL" clId="{BA986FD8-24F6-4E4D-A13E-D51E4B4EEBD3}" dt="2024-11-26T16:31:00.925" v="223" actId="1076"/>
          <ac:cxnSpMkLst>
            <pc:docMk/>
            <pc:sldMk cId="602225961" sldId="316"/>
            <ac:cxnSpMk id="8" creationId="{AF950DF5-F595-2164-1DE4-AED4720503B6}"/>
          </ac:cxnSpMkLst>
        </pc:cxnChg>
        <pc:cxnChg chg="add mod">
          <ac:chgData name="AT/ESS-pw Wolf, Philip" userId="c5a58edc-d261-4459-8924-829f862075e0" providerId="ADAL" clId="{BA986FD8-24F6-4E4D-A13E-D51E4B4EEBD3}" dt="2024-11-26T16:31:00.925" v="223" actId="1076"/>
          <ac:cxnSpMkLst>
            <pc:docMk/>
            <pc:sldMk cId="602225961" sldId="316"/>
            <ac:cxnSpMk id="10" creationId="{F79A5F1B-D2D2-C8D6-C495-BAF8B27AD929}"/>
          </ac:cxnSpMkLst>
        </pc:cxnChg>
        <pc:cxnChg chg="add mod">
          <ac:chgData name="AT/ESS-pw Wolf, Philip" userId="c5a58edc-d261-4459-8924-829f862075e0" providerId="ADAL" clId="{BA986FD8-24F6-4E4D-A13E-D51E4B4EEBD3}" dt="2024-11-26T16:33:17.921" v="255" actId="208"/>
          <ac:cxnSpMkLst>
            <pc:docMk/>
            <pc:sldMk cId="602225961" sldId="316"/>
            <ac:cxnSpMk id="12" creationId="{21FDAD75-649B-88E3-85CB-47DAD15F82E7}"/>
          </ac:cxnSpMkLst>
        </pc:cxnChg>
        <pc:cxnChg chg="add del mod">
          <ac:chgData name="AT/ESS-pw Wolf, Philip" userId="c5a58edc-d261-4459-8924-829f862075e0" providerId="ADAL" clId="{BA986FD8-24F6-4E4D-A13E-D51E4B4EEBD3}" dt="2024-11-26T14:38:46.015" v="180" actId="478"/>
          <ac:cxnSpMkLst>
            <pc:docMk/>
            <pc:sldMk cId="602225961" sldId="316"/>
            <ac:cxnSpMk id="14" creationId="{3BBED1F0-85B3-6288-091D-1AFB3871BA61}"/>
          </ac:cxnSpMkLst>
        </pc:cxnChg>
        <pc:cxnChg chg="add mod">
          <ac:chgData name="AT/ESS-pw Wolf, Philip" userId="c5a58edc-d261-4459-8924-829f862075e0" providerId="ADAL" clId="{BA986FD8-24F6-4E4D-A13E-D51E4B4EEBD3}" dt="2024-11-26T16:30:49.410" v="219" actId="1582"/>
          <ac:cxnSpMkLst>
            <pc:docMk/>
            <pc:sldMk cId="602225961" sldId="316"/>
            <ac:cxnSpMk id="24" creationId="{386235C4-6609-ED8C-2C8D-1E079C08947C}"/>
          </ac:cxnSpMkLst>
        </pc:cxnChg>
        <pc:cxnChg chg="add mod">
          <ac:chgData name="AT/ESS-pw Wolf, Philip" userId="c5a58edc-d261-4459-8924-829f862075e0" providerId="ADAL" clId="{BA986FD8-24F6-4E4D-A13E-D51E4B4EEBD3}" dt="2024-11-26T16:31:20.471" v="227" actId="1582"/>
          <ac:cxnSpMkLst>
            <pc:docMk/>
            <pc:sldMk cId="602225961" sldId="316"/>
            <ac:cxnSpMk id="26" creationId="{DAC5FD6D-AC50-0437-93D1-2657CCBBA047}"/>
          </ac:cxnSpMkLst>
        </pc:cxnChg>
        <pc:cxnChg chg="add mod">
          <ac:chgData name="AT/ESS-pw Wolf, Philip" userId="c5a58edc-d261-4459-8924-829f862075e0" providerId="ADAL" clId="{BA986FD8-24F6-4E4D-A13E-D51E4B4EEBD3}" dt="2024-11-26T16:31:31.609" v="232" actId="1035"/>
          <ac:cxnSpMkLst>
            <pc:docMk/>
            <pc:sldMk cId="602225961" sldId="316"/>
            <ac:cxnSpMk id="27" creationId="{05F0AF45-C038-62B6-3E1F-10316D3B6CF7}"/>
          </ac:cxnSpMkLst>
        </pc:cxnChg>
      </pc:sldChg>
      <pc:sldChg chg="addSp delSp modSp new del mod">
        <pc:chgData name="AT/ESS-pw Wolf, Philip" userId="c5a58edc-d261-4459-8924-829f862075e0" providerId="ADAL" clId="{BA986FD8-24F6-4E4D-A13E-D51E4B4EEBD3}" dt="2024-11-27T14:52:46.933" v="307" actId="47"/>
        <pc:sldMkLst>
          <pc:docMk/>
          <pc:sldMk cId="1185517385" sldId="317"/>
        </pc:sldMkLst>
        <pc:spChg chg="del">
          <ac:chgData name="AT/ESS-pw Wolf, Philip" userId="c5a58edc-d261-4459-8924-829f862075e0" providerId="ADAL" clId="{BA986FD8-24F6-4E4D-A13E-D51E4B4EEBD3}" dt="2024-11-27T10:26:22.891" v="283" actId="478"/>
          <ac:spMkLst>
            <pc:docMk/>
            <pc:sldMk cId="1185517385" sldId="317"/>
            <ac:spMk id="4" creationId="{7B2679B2-1664-5AC6-5F3C-19F46A8C88A9}"/>
          </ac:spMkLst>
        </pc:spChg>
        <pc:spChg chg="add">
          <ac:chgData name="AT/ESS-pw Wolf, Philip" userId="c5a58edc-d261-4459-8924-829f862075e0" providerId="ADAL" clId="{BA986FD8-24F6-4E4D-A13E-D51E4B4EEBD3}" dt="2024-11-27T10:26:54.785" v="287" actId="11529"/>
          <ac:spMkLst>
            <pc:docMk/>
            <pc:sldMk cId="1185517385" sldId="317"/>
            <ac:spMk id="6" creationId="{C8A9B8C0-21F2-E01E-062A-C4D62007BF92}"/>
          </ac:spMkLst>
        </pc:spChg>
        <pc:picChg chg="add del mod">
          <ac:chgData name="AT/ESS-pw Wolf, Philip" userId="c5a58edc-d261-4459-8924-829f862075e0" providerId="ADAL" clId="{BA986FD8-24F6-4E4D-A13E-D51E4B4EEBD3}" dt="2024-11-27T10:27:14.427" v="289" actId="478"/>
          <ac:picMkLst>
            <pc:docMk/>
            <pc:sldMk cId="1185517385" sldId="317"/>
            <ac:picMk id="5" creationId="{A011BE5D-676D-FD67-CE92-C6D1B444E1C9}"/>
          </ac:picMkLst>
        </pc:picChg>
      </pc:sldChg>
      <pc:sldChg chg="addSp delSp modSp add mod">
        <pc:chgData name="AT/ESS-pw Wolf, Philip" userId="c5a58edc-d261-4459-8924-829f862075e0" providerId="ADAL" clId="{BA986FD8-24F6-4E4D-A13E-D51E4B4EEBD3}" dt="2024-11-27T10:28:00.028" v="305" actId="478"/>
        <pc:sldMkLst>
          <pc:docMk/>
          <pc:sldMk cId="1161000987" sldId="318"/>
        </pc:sldMkLst>
        <pc:spChg chg="add mod">
          <ac:chgData name="AT/ESS-pw Wolf, Philip" userId="c5a58edc-d261-4459-8924-829f862075e0" providerId="ADAL" clId="{BA986FD8-24F6-4E4D-A13E-D51E4B4EEBD3}" dt="2024-11-27T10:27:21.077" v="291" actId="1076"/>
          <ac:spMkLst>
            <pc:docMk/>
            <pc:sldMk cId="1161000987" sldId="318"/>
            <ac:spMk id="4" creationId="{17D86472-7D0F-1971-A4B7-70A2B80BBEFA}"/>
          </ac:spMkLst>
        </pc:spChg>
        <pc:spChg chg="del mod">
          <ac:chgData name="AT/ESS-pw Wolf, Philip" userId="c5a58edc-d261-4459-8924-829f862075e0" providerId="ADAL" clId="{BA986FD8-24F6-4E4D-A13E-D51E4B4EEBD3}" dt="2024-11-27T10:27:32.577" v="297"/>
          <ac:spMkLst>
            <pc:docMk/>
            <pc:sldMk cId="1161000987" sldId="318"/>
            <ac:spMk id="30" creationId="{61D17E40-A9C5-FAD5-2D60-C6A9BD3CB3E0}"/>
          </ac:spMkLst>
        </pc:spChg>
        <pc:spChg chg="del mod">
          <ac:chgData name="AT/ESS-pw Wolf, Philip" userId="c5a58edc-d261-4459-8924-829f862075e0" providerId="ADAL" clId="{BA986FD8-24F6-4E4D-A13E-D51E4B4EEBD3}" dt="2024-11-27T10:27:39.844" v="301" actId="478"/>
          <ac:spMkLst>
            <pc:docMk/>
            <pc:sldMk cId="1161000987" sldId="318"/>
            <ac:spMk id="31" creationId="{52CE038F-FBB3-36ED-986E-461804BE7BDD}"/>
          </ac:spMkLst>
        </pc:spChg>
        <pc:spChg chg="del mod">
          <ac:chgData name="AT/ESS-pw Wolf, Philip" userId="c5a58edc-d261-4459-8924-829f862075e0" providerId="ADAL" clId="{BA986FD8-24F6-4E4D-A13E-D51E4B4EEBD3}" dt="2024-11-27T10:27:32.577" v="295" actId="478"/>
          <ac:spMkLst>
            <pc:docMk/>
            <pc:sldMk cId="1161000987" sldId="318"/>
            <ac:spMk id="32" creationId="{15AA0C85-5D13-7318-2717-B64A556102FF}"/>
          </ac:spMkLst>
        </pc:spChg>
        <pc:grpChg chg="del mod">
          <ac:chgData name="AT/ESS-pw Wolf, Philip" userId="c5a58edc-d261-4459-8924-829f862075e0" providerId="ADAL" clId="{BA986FD8-24F6-4E4D-A13E-D51E4B4EEBD3}" dt="2024-11-27T10:28:00.028" v="305" actId="478"/>
          <ac:grpSpMkLst>
            <pc:docMk/>
            <pc:sldMk cId="1161000987" sldId="318"/>
            <ac:grpSpMk id="22" creationId="{470EFE5F-59A8-8337-7B86-C600A538CC0A}"/>
          </ac:grpSpMkLst>
        </pc:grpChg>
        <pc:picChg chg="add del mod topLvl">
          <ac:chgData name="AT/ESS-pw Wolf, Philip" userId="c5a58edc-d261-4459-8924-829f862075e0" providerId="ADAL" clId="{BA986FD8-24F6-4E4D-A13E-D51E4B4EEBD3}" dt="2024-11-27T10:28:00.028" v="305" actId="478"/>
          <ac:picMkLst>
            <pc:docMk/>
            <pc:sldMk cId="1161000987" sldId="318"/>
            <ac:picMk id="47106" creationId="{6E427430-49D2-EE4A-962A-4EA6D3B59AFC}"/>
          </ac:picMkLst>
        </pc:picChg>
        <pc:cxnChg chg="del mod">
          <ac:chgData name="AT/ESS-pw Wolf, Philip" userId="c5a58edc-d261-4459-8924-829f862075e0" providerId="ADAL" clId="{BA986FD8-24F6-4E4D-A13E-D51E4B4EEBD3}" dt="2024-11-27T10:27:56.348" v="303" actId="478"/>
          <ac:cxnSpMkLst>
            <pc:docMk/>
            <pc:sldMk cId="1161000987" sldId="318"/>
            <ac:cxnSpMk id="6" creationId="{66E23BE5-280B-5D7D-FE42-17F70C01BAD3}"/>
          </ac:cxnSpMkLst>
        </pc:cxnChg>
        <pc:cxnChg chg="del mod">
          <ac:chgData name="AT/ESS-pw Wolf, Philip" userId="c5a58edc-d261-4459-8924-829f862075e0" providerId="ADAL" clId="{BA986FD8-24F6-4E4D-A13E-D51E4B4EEBD3}" dt="2024-11-27T10:27:58.378" v="304" actId="478"/>
          <ac:cxnSpMkLst>
            <pc:docMk/>
            <pc:sldMk cId="1161000987" sldId="318"/>
            <ac:cxnSpMk id="8" creationId="{EFAF8EFA-19D8-BDE2-EF30-95B10D8DE66B}"/>
          </ac:cxnSpMkLst>
        </pc:cxnChg>
        <pc:cxnChg chg="del mod topLvl">
          <ac:chgData name="AT/ESS-pw Wolf, Philip" userId="c5a58edc-d261-4459-8924-829f862075e0" providerId="ADAL" clId="{BA986FD8-24F6-4E4D-A13E-D51E4B4EEBD3}" dt="2024-11-27T10:28:00.028" v="305" actId="478"/>
          <ac:cxnSpMkLst>
            <pc:docMk/>
            <pc:sldMk cId="1161000987" sldId="318"/>
            <ac:cxnSpMk id="10" creationId="{E15C906F-2583-3A9C-F67E-491B764D7CFC}"/>
          </ac:cxnSpMkLst>
        </pc:cxnChg>
        <pc:cxnChg chg="del">
          <ac:chgData name="AT/ESS-pw Wolf, Philip" userId="c5a58edc-d261-4459-8924-829f862075e0" providerId="ADAL" clId="{BA986FD8-24F6-4E4D-A13E-D51E4B4EEBD3}" dt="2024-11-27T10:27:23.698" v="292" actId="478"/>
          <ac:cxnSpMkLst>
            <pc:docMk/>
            <pc:sldMk cId="1161000987" sldId="318"/>
            <ac:cxnSpMk id="12" creationId="{F5616096-ED9A-B612-8DC1-AB0DEA9D6E56}"/>
          </ac:cxnSpMkLst>
        </pc:cxn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339CC96-28B7-4EB5-AF28-4751D63D6205}" type="datetimeFigureOut">
              <a:rPr lang="de-DE" smtClean="0"/>
              <a:t>27.11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F3E65A7-789D-47E6-985F-DF61FF0CF57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8604113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3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3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3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4" Type="http://schemas.openxmlformats.org/officeDocument/2006/relationships/image" Target="../media/image3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4" Type="http://schemas.openxmlformats.org/officeDocument/2006/relationships/image" Target="../media/image3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4" Type="http://schemas.openxmlformats.org/officeDocument/2006/relationships/image" Target="../media/image3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4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Relationship Id="rId5" Type="http://schemas.openxmlformats.org/officeDocument/2006/relationships/image" Target="../media/image2.png"/><Relationship Id="rId4" Type="http://schemas.openxmlformats.org/officeDocument/2006/relationships/image" Target="../media/image3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Relationship Id="rId5" Type="http://schemas.openxmlformats.org/officeDocument/2006/relationships/image" Target="../media/image2.png"/><Relationship Id="rId4" Type="http://schemas.openxmlformats.org/officeDocument/2006/relationships/image" Target="../media/image3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Hintergrund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70" imgH="371" progId="TCLayout.ActiveDocument.1">
                  <p:embed/>
                </p:oleObj>
              </mc:Choice>
              <mc:Fallback>
                <p:oleObj name="think-cell Folie" r:id="rId4" imgW="370" imgH="37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200" b="1" i="0" baseline="0" dirty="0">
              <a:solidFill>
                <a:schemeClr val="tx1"/>
              </a:solidFill>
              <a:latin typeface="STIHL Contraface Display Title"/>
              <a:ea typeface="+mn-ea"/>
              <a:cs typeface="+mn-cs"/>
              <a:sym typeface="STIHL Contraface Display Title"/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6061" y="258750"/>
            <a:ext cx="1774212" cy="775631"/>
          </a:xfrm>
          <a:prstGeom prst="rect">
            <a:avLst/>
          </a:prstGeom>
        </p:spPr>
      </p:pic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F81A1AFD-D231-4C55-9AAB-DA10BA8E7D1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361950 w 12192000"/>
              <a:gd name="connsiteY0" fmla="*/ 2751084 h 6858000"/>
              <a:gd name="connsiteX1" fmla="*/ 361950 w 12192000"/>
              <a:gd name="connsiteY1" fmla="*/ 6534807 h 6858000"/>
              <a:gd name="connsiteX2" fmla="*/ 5401950 w 12192000"/>
              <a:gd name="connsiteY2" fmla="*/ 6534807 h 6858000"/>
              <a:gd name="connsiteX3" fmla="*/ 5401950 w 12192000"/>
              <a:gd name="connsiteY3" fmla="*/ 2751084 h 6858000"/>
              <a:gd name="connsiteX4" fmla="*/ 10129345 w 12192000"/>
              <a:gd name="connsiteY4" fmla="*/ 344401 h 6858000"/>
              <a:gd name="connsiteX5" fmla="*/ 10129345 w 12192000"/>
              <a:gd name="connsiteY5" fmla="*/ 1099696 h 6858000"/>
              <a:gd name="connsiteX6" fmla="*/ 11857039 w 12192000"/>
              <a:gd name="connsiteY6" fmla="*/ 1099696 h 6858000"/>
              <a:gd name="connsiteX7" fmla="*/ 11857039 w 12192000"/>
              <a:gd name="connsiteY7" fmla="*/ 344401 h 6858000"/>
              <a:gd name="connsiteX8" fmla="*/ 0 w 12192000"/>
              <a:gd name="connsiteY8" fmla="*/ 0 h 6858000"/>
              <a:gd name="connsiteX9" fmla="*/ 12192000 w 12192000"/>
              <a:gd name="connsiteY9" fmla="*/ 0 h 6858000"/>
              <a:gd name="connsiteX10" fmla="*/ 12192000 w 12192000"/>
              <a:gd name="connsiteY10" fmla="*/ 6858000 h 6858000"/>
              <a:gd name="connsiteX11" fmla="*/ 0 w 12192000"/>
              <a:gd name="connsiteY11" fmla="*/ 6858000 h 6858000"/>
              <a:gd name="connsiteX0" fmla="*/ 361950 w 12192000"/>
              <a:gd name="connsiteY0" fmla="*/ 2751084 h 6858000"/>
              <a:gd name="connsiteX1" fmla="*/ 361950 w 12192000"/>
              <a:gd name="connsiteY1" fmla="*/ 6534807 h 6858000"/>
              <a:gd name="connsiteX2" fmla="*/ 5401950 w 12192000"/>
              <a:gd name="connsiteY2" fmla="*/ 6534807 h 6858000"/>
              <a:gd name="connsiteX3" fmla="*/ 5401950 w 12192000"/>
              <a:gd name="connsiteY3" fmla="*/ 2751084 h 6858000"/>
              <a:gd name="connsiteX4" fmla="*/ 361950 w 12192000"/>
              <a:gd name="connsiteY4" fmla="*/ 2751084 h 6858000"/>
              <a:gd name="connsiteX5" fmla="*/ 10136965 w 12192000"/>
              <a:gd name="connsiteY5" fmla="*/ 258041 h 6858000"/>
              <a:gd name="connsiteX6" fmla="*/ 10129345 w 12192000"/>
              <a:gd name="connsiteY6" fmla="*/ 1099696 h 6858000"/>
              <a:gd name="connsiteX7" fmla="*/ 11857039 w 12192000"/>
              <a:gd name="connsiteY7" fmla="*/ 1099696 h 6858000"/>
              <a:gd name="connsiteX8" fmla="*/ 11857039 w 12192000"/>
              <a:gd name="connsiteY8" fmla="*/ 34440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2751084 h 6858000"/>
              <a:gd name="connsiteX1" fmla="*/ 361950 w 12192000"/>
              <a:gd name="connsiteY1" fmla="*/ 6534807 h 6858000"/>
              <a:gd name="connsiteX2" fmla="*/ 5401950 w 12192000"/>
              <a:gd name="connsiteY2" fmla="*/ 6534807 h 6858000"/>
              <a:gd name="connsiteX3" fmla="*/ 5401950 w 12192000"/>
              <a:gd name="connsiteY3" fmla="*/ 2751084 h 6858000"/>
              <a:gd name="connsiteX4" fmla="*/ 361950 w 12192000"/>
              <a:gd name="connsiteY4" fmla="*/ 2751084 h 6858000"/>
              <a:gd name="connsiteX5" fmla="*/ 10136965 w 12192000"/>
              <a:gd name="connsiteY5" fmla="*/ 258041 h 6858000"/>
              <a:gd name="connsiteX6" fmla="*/ 10129345 w 12192000"/>
              <a:gd name="connsiteY6" fmla="*/ 1099696 h 6858000"/>
              <a:gd name="connsiteX7" fmla="*/ 11857039 w 12192000"/>
              <a:gd name="connsiteY7" fmla="*/ 109969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2751084 h 6858000"/>
              <a:gd name="connsiteX1" fmla="*/ 361950 w 12192000"/>
              <a:gd name="connsiteY1" fmla="*/ 6534807 h 6858000"/>
              <a:gd name="connsiteX2" fmla="*/ 5401950 w 12192000"/>
              <a:gd name="connsiteY2" fmla="*/ 6534807 h 6858000"/>
              <a:gd name="connsiteX3" fmla="*/ 5401950 w 12192000"/>
              <a:gd name="connsiteY3" fmla="*/ 2751084 h 6858000"/>
              <a:gd name="connsiteX4" fmla="*/ 361950 w 12192000"/>
              <a:gd name="connsiteY4" fmla="*/ 2751084 h 6858000"/>
              <a:gd name="connsiteX5" fmla="*/ 10136965 w 12192000"/>
              <a:gd name="connsiteY5" fmla="*/ 258041 h 6858000"/>
              <a:gd name="connsiteX6" fmla="*/ 10129345 w 12192000"/>
              <a:gd name="connsiteY6" fmla="*/ 1099696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2751084 h 6858000"/>
              <a:gd name="connsiteX1" fmla="*/ 361950 w 12192000"/>
              <a:gd name="connsiteY1" fmla="*/ 6534807 h 6858000"/>
              <a:gd name="connsiteX2" fmla="*/ 5401950 w 12192000"/>
              <a:gd name="connsiteY2" fmla="*/ 6534807 h 6858000"/>
              <a:gd name="connsiteX3" fmla="*/ 5401950 w 12192000"/>
              <a:gd name="connsiteY3" fmla="*/ 2751084 h 6858000"/>
              <a:gd name="connsiteX4" fmla="*/ 361950 w 12192000"/>
              <a:gd name="connsiteY4" fmla="*/ 2751084 h 6858000"/>
              <a:gd name="connsiteX5" fmla="*/ 10136965 w 12192000"/>
              <a:gd name="connsiteY5" fmla="*/ 258041 h 6858000"/>
              <a:gd name="connsiteX6" fmla="*/ 10131885 w 12192000"/>
              <a:gd name="connsiteY6" fmla="*/ 1033656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2751084 h 6858000"/>
              <a:gd name="connsiteX1" fmla="*/ 361950 w 12192000"/>
              <a:gd name="connsiteY1" fmla="*/ 6534807 h 6858000"/>
              <a:gd name="connsiteX2" fmla="*/ 5401950 w 12192000"/>
              <a:gd name="connsiteY2" fmla="*/ 6534807 h 6858000"/>
              <a:gd name="connsiteX3" fmla="*/ 5401950 w 12192000"/>
              <a:gd name="connsiteY3" fmla="*/ 2751084 h 6858000"/>
              <a:gd name="connsiteX4" fmla="*/ 361950 w 12192000"/>
              <a:gd name="connsiteY4" fmla="*/ 2751084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2751084 h 6858000"/>
              <a:gd name="connsiteX1" fmla="*/ 361950 w 12192000"/>
              <a:gd name="connsiteY1" fmla="*/ 6534807 h 6858000"/>
              <a:gd name="connsiteX2" fmla="*/ 5401950 w 12192000"/>
              <a:gd name="connsiteY2" fmla="*/ 6534807 h 6858000"/>
              <a:gd name="connsiteX3" fmla="*/ 5401950 w 12192000"/>
              <a:gd name="connsiteY3" fmla="*/ 2751084 h 6858000"/>
              <a:gd name="connsiteX4" fmla="*/ 361950 w 12192000"/>
              <a:gd name="connsiteY4" fmla="*/ 2751084 h 6858000"/>
              <a:gd name="connsiteX5" fmla="*/ 10142680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42680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2751084 h 6858000"/>
              <a:gd name="connsiteX1" fmla="*/ 361950 w 12192000"/>
              <a:gd name="connsiteY1" fmla="*/ 6534807 h 6858000"/>
              <a:gd name="connsiteX2" fmla="*/ 5401950 w 12192000"/>
              <a:gd name="connsiteY2" fmla="*/ 6534807 h 6858000"/>
              <a:gd name="connsiteX3" fmla="*/ 5401950 w 12192000"/>
              <a:gd name="connsiteY3" fmla="*/ 2751084 h 6858000"/>
              <a:gd name="connsiteX4" fmla="*/ 361950 w 12192000"/>
              <a:gd name="connsiteY4" fmla="*/ 2751084 h 6858000"/>
              <a:gd name="connsiteX5" fmla="*/ 10142680 w 12192000"/>
              <a:gd name="connsiteY5" fmla="*/ 258041 h 6858000"/>
              <a:gd name="connsiteX6" fmla="*/ 1013950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42680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2751084 h 6858000"/>
              <a:gd name="connsiteX1" fmla="*/ 361950 w 12192000"/>
              <a:gd name="connsiteY1" fmla="*/ 6534807 h 6858000"/>
              <a:gd name="connsiteX2" fmla="*/ 5401950 w 12192000"/>
              <a:gd name="connsiteY2" fmla="*/ 6534807 h 6858000"/>
              <a:gd name="connsiteX3" fmla="*/ 5401950 w 12192000"/>
              <a:gd name="connsiteY3" fmla="*/ 2751084 h 6858000"/>
              <a:gd name="connsiteX4" fmla="*/ 361950 w 12192000"/>
              <a:gd name="connsiteY4" fmla="*/ 2751084 h 6858000"/>
              <a:gd name="connsiteX5" fmla="*/ 10142680 w 12192000"/>
              <a:gd name="connsiteY5" fmla="*/ 258041 h 6858000"/>
              <a:gd name="connsiteX6" fmla="*/ 1014331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42680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2751084 h 6858000"/>
              <a:gd name="connsiteX1" fmla="*/ 361950 w 12192000"/>
              <a:gd name="connsiteY1" fmla="*/ 6534807 h 6858000"/>
              <a:gd name="connsiteX2" fmla="*/ 5401950 w 12192000"/>
              <a:gd name="connsiteY2" fmla="*/ 6534807 h 6858000"/>
              <a:gd name="connsiteX3" fmla="*/ 5401950 w 12192000"/>
              <a:gd name="connsiteY3" fmla="*/ 2751084 h 6858000"/>
              <a:gd name="connsiteX4" fmla="*/ 361950 w 12192000"/>
              <a:gd name="connsiteY4" fmla="*/ 2751084 h 6858000"/>
              <a:gd name="connsiteX5" fmla="*/ 10142680 w 12192000"/>
              <a:gd name="connsiteY5" fmla="*/ 258041 h 6858000"/>
              <a:gd name="connsiteX6" fmla="*/ 10143315 w 12192000"/>
              <a:gd name="connsiteY6" fmla="*/ 1031751 h 6858000"/>
              <a:gd name="connsiteX7" fmla="*/ 11907839 w 12192000"/>
              <a:gd name="connsiteY7" fmla="*/ 1031116 h 6858000"/>
              <a:gd name="connsiteX8" fmla="*/ 11904029 w 12192000"/>
              <a:gd name="connsiteY8" fmla="*/ 258041 h 6858000"/>
              <a:gd name="connsiteX9" fmla="*/ 10142680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2751084 h 6858000"/>
              <a:gd name="connsiteX1" fmla="*/ 361950 w 12192000"/>
              <a:gd name="connsiteY1" fmla="*/ 6534807 h 6858000"/>
              <a:gd name="connsiteX2" fmla="*/ 5401950 w 12192000"/>
              <a:gd name="connsiteY2" fmla="*/ 6534807 h 6858000"/>
              <a:gd name="connsiteX3" fmla="*/ 5401950 w 12192000"/>
              <a:gd name="connsiteY3" fmla="*/ 2751084 h 6858000"/>
              <a:gd name="connsiteX4" fmla="*/ 361950 w 12192000"/>
              <a:gd name="connsiteY4" fmla="*/ 2751084 h 6858000"/>
              <a:gd name="connsiteX5" fmla="*/ 10142680 w 12192000"/>
              <a:gd name="connsiteY5" fmla="*/ 258041 h 6858000"/>
              <a:gd name="connsiteX6" fmla="*/ 10143315 w 12192000"/>
              <a:gd name="connsiteY6" fmla="*/ 1031751 h 6858000"/>
              <a:gd name="connsiteX7" fmla="*/ 11902124 w 12192000"/>
              <a:gd name="connsiteY7" fmla="*/ 1031116 h 6858000"/>
              <a:gd name="connsiteX8" fmla="*/ 11904029 w 12192000"/>
              <a:gd name="connsiteY8" fmla="*/ 258041 h 6858000"/>
              <a:gd name="connsiteX9" fmla="*/ 10142680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2751084 h 6858000"/>
              <a:gd name="connsiteX1" fmla="*/ 361950 w 12192000"/>
              <a:gd name="connsiteY1" fmla="*/ 6534807 h 6858000"/>
              <a:gd name="connsiteX2" fmla="*/ 5401950 w 12192000"/>
              <a:gd name="connsiteY2" fmla="*/ 6534807 h 6858000"/>
              <a:gd name="connsiteX3" fmla="*/ 5401950 w 12192000"/>
              <a:gd name="connsiteY3" fmla="*/ 2751084 h 6858000"/>
              <a:gd name="connsiteX4" fmla="*/ 361950 w 12192000"/>
              <a:gd name="connsiteY4" fmla="*/ 2751084 h 6858000"/>
              <a:gd name="connsiteX5" fmla="*/ 10140775 w 12192000"/>
              <a:gd name="connsiteY5" fmla="*/ 259946 h 6858000"/>
              <a:gd name="connsiteX6" fmla="*/ 10143315 w 12192000"/>
              <a:gd name="connsiteY6" fmla="*/ 1031751 h 6858000"/>
              <a:gd name="connsiteX7" fmla="*/ 11902124 w 12192000"/>
              <a:gd name="connsiteY7" fmla="*/ 1031116 h 6858000"/>
              <a:gd name="connsiteX8" fmla="*/ 11904029 w 12192000"/>
              <a:gd name="connsiteY8" fmla="*/ 258041 h 6858000"/>
              <a:gd name="connsiteX9" fmla="*/ 10140775 w 12192000"/>
              <a:gd name="connsiteY9" fmla="*/ 25994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2751084 h 6858000"/>
              <a:gd name="connsiteX1" fmla="*/ 361950 w 12192000"/>
              <a:gd name="connsiteY1" fmla="*/ 6534807 h 6858000"/>
              <a:gd name="connsiteX2" fmla="*/ 5401950 w 12192000"/>
              <a:gd name="connsiteY2" fmla="*/ 6534807 h 6858000"/>
              <a:gd name="connsiteX3" fmla="*/ 5401950 w 12192000"/>
              <a:gd name="connsiteY3" fmla="*/ 2751084 h 6858000"/>
              <a:gd name="connsiteX4" fmla="*/ 361950 w 12192000"/>
              <a:gd name="connsiteY4" fmla="*/ 2751084 h 6858000"/>
              <a:gd name="connsiteX5" fmla="*/ 10146490 w 12192000"/>
              <a:gd name="connsiteY5" fmla="*/ 259946 h 6858000"/>
              <a:gd name="connsiteX6" fmla="*/ 10143315 w 12192000"/>
              <a:gd name="connsiteY6" fmla="*/ 1031751 h 6858000"/>
              <a:gd name="connsiteX7" fmla="*/ 11902124 w 12192000"/>
              <a:gd name="connsiteY7" fmla="*/ 1031116 h 6858000"/>
              <a:gd name="connsiteX8" fmla="*/ 11904029 w 12192000"/>
              <a:gd name="connsiteY8" fmla="*/ 258041 h 6858000"/>
              <a:gd name="connsiteX9" fmla="*/ 10146490 w 12192000"/>
              <a:gd name="connsiteY9" fmla="*/ 25994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2751084 h 6858000"/>
              <a:gd name="connsiteX1" fmla="*/ 361950 w 12192000"/>
              <a:gd name="connsiteY1" fmla="*/ 6534807 h 6858000"/>
              <a:gd name="connsiteX2" fmla="*/ 5401950 w 12192000"/>
              <a:gd name="connsiteY2" fmla="*/ 6534807 h 6858000"/>
              <a:gd name="connsiteX3" fmla="*/ 5401950 w 12192000"/>
              <a:gd name="connsiteY3" fmla="*/ 2751084 h 6858000"/>
              <a:gd name="connsiteX4" fmla="*/ 361950 w 12192000"/>
              <a:gd name="connsiteY4" fmla="*/ 2751084 h 6858000"/>
              <a:gd name="connsiteX5" fmla="*/ 10140775 w 12192000"/>
              <a:gd name="connsiteY5" fmla="*/ 263756 h 6858000"/>
              <a:gd name="connsiteX6" fmla="*/ 10143315 w 12192000"/>
              <a:gd name="connsiteY6" fmla="*/ 1031751 h 6858000"/>
              <a:gd name="connsiteX7" fmla="*/ 11902124 w 12192000"/>
              <a:gd name="connsiteY7" fmla="*/ 1031116 h 6858000"/>
              <a:gd name="connsiteX8" fmla="*/ 11904029 w 12192000"/>
              <a:gd name="connsiteY8" fmla="*/ 258041 h 6858000"/>
              <a:gd name="connsiteX9" fmla="*/ 10140775 w 12192000"/>
              <a:gd name="connsiteY9" fmla="*/ 26375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2751084 h 6858000"/>
              <a:gd name="connsiteX1" fmla="*/ 361950 w 12192000"/>
              <a:gd name="connsiteY1" fmla="*/ 6534807 h 6858000"/>
              <a:gd name="connsiteX2" fmla="*/ 5401950 w 12192000"/>
              <a:gd name="connsiteY2" fmla="*/ 6534807 h 6858000"/>
              <a:gd name="connsiteX3" fmla="*/ 5401950 w 12192000"/>
              <a:gd name="connsiteY3" fmla="*/ 2751084 h 6858000"/>
              <a:gd name="connsiteX4" fmla="*/ 361950 w 12192000"/>
              <a:gd name="connsiteY4" fmla="*/ 2751084 h 6858000"/>
              <a:gd name="connsiteX5" fmla="*/ 10140775 w 12192000"/>
              <a:gd name="connsiteY5" fmla="*/ 263756 h 6858000"/>
              <a:gd name="connsiteX6" fmla="*/ 10143315 w 12192000"/>
              <a:gd name="connsiteY6" fmla="*/ 1031751 h 6858000"/>
              <a:gd name="connsiteX7" fmla="*/ 11902124 w 12192000"/>
              <a:gd name="connsiteY7" fmla="*/ 1031116 h 6858000"/>
              <a:gd name="connsiteX8" fmla="*/ 11904029 w 12192000"/>
              <a:gd name="connsiteY8" fmla="*/ 263756 h 6858000"/>
              <a:gd name="connsiteX9" fmla="*/ 10140775 w 12192000"/>
              <a:gd name="connsiteY9" fmla="*/ 26375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2751084 h 6858000"/>
              <a:gd name="connsiteX1" fmla="*/ 361950 w 12192000"/>
              <a:gd name="connsiteY1" fmla="*/ 6534807 h 6858000"/>
              <a:gd name="connsiteX2" fmla="*/ 5401950 w 12192000"/>
              <a:gd name="connsiteY2" fmla="*/ 6534807 h 6858000"/>
              <a:gd name="connsiteX3" fmla="*/ 5401950 w 12192000"/>
              <a:gd name="connsiteY3" fmla="*/ 2751084 h 6858000"/>
              <a:gd name="connsiteX4" fmla="*/ 361950 w 12192000"/>
              <a:gd name="connsiteY4" fmla="*/ 2751084 h 6858000"/>
              <a:gd name="connsiteX5" fmla="*/ 10146490 w 12192000"/>
              <a:gd name="connsiteY5" fmla="*/ 263756 h 6858000"/>
              <a:gd name="connsiteX6" fmla="*/ 10143315 w 12192000"/>
              <a:gd name="connsiteY6" fmla="*/ 1031751 h 6858000"/>
              <a:gd name="connsiteX7" fmla="*/ 11902124 w 12192000"/>
              <a:gd name="connsiteY7" fmla="*/ 1031116 h 6858000"/>
              <a:gd name="connsiteX8" fmla="*/ 11904029 w 12192000"/>
              <a:gd name="connsiteY8" fmla="*/ 263756 h 6858000"/>
              <a:gd name="connsiteX9" fmla="*/ 10146490 w 12192000"/>
              <a:gd name="connsiteY9" fmla="*/ 26375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2751084 h 6858000"/>
              <a:gd name="connsiteX1" fmla="*/ 361950 w 12192000"/>
              <a:gd name="connsiteY1" fmla="*/ 6534807 h 6858000"/>
              <a:gd name="connsiteX2" fmla="*/ 5401950 w 12192000"/>
              <a:gd name="connsiteY2" fmla="*/ 6534807 h 6858000"/>
              <a:gd name="connsiteX3" fmla="*/ 5401950 w 12192000"/>
              <a:gd name="connsiteY3" fmla="*/ 2751084 h 6858000"/>
              <a:gd name="connsiteX4" fmla="*/ 361950 w 12192000"/>
              <a:gd name="connsiteY4" fmla="*/ 2751084 h 6858000"/>
              <a:gd name="connsiteX5" fmla="*/ 10047430 w 12192000"/>
              <a:gd name="connsiteY5" fmla="*/ 197081 h 6858000"/>
              <a:gd name="connsiteX6" fmla="*/ 10143315 w 12192000"/>
              <a:gd name="connsiteY6" fmla="*/ 1031751 h 6858000"/>
              <a:gd name="connsiteX7" fmla="*/ 11902124 w 12192000"/>
              <a:gd name="connsiteY7" fmla="*/ 1031116 h 6858000"/>
              <a:gd name="connsiteX8" fmla="*/ 11904029 w 12192000"/>
              <a:gd name="connsiteY8" fmla="*/ 263756 h 6858000"/>
              <a:gd name="connsiteX9" fmla="*/ 10047430 w 12192000"/>
              <a:gd name="connsiteY9" fmla="*/ 19708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2751084 h 6858000"/>
              <a:gd name="connsiteX1" fmla="*/ 361950 w 12192000"/>
              <a:gd name="connsiteY1" fmla="*/ 6534807 h 6858000"/>
              <a:gd name="connsiteX2" fmla="*/ 5401950 w 12192000"/>
              <a:gd name="connsiteY2" fmla="*/ 6534807 h 6858000"/>
              <a:gd name="connsiteX3" fmla="*/ 5401950 w 12192000"/>
              <a:gd name="connsiteY3" fmla="*/ 2751084 h 6858000"/>
              <a:gd name="connsiteX4" fmla="*/ 361950 w 12192000"/>
              <a:gd name="connsiteY4" fmla="*/ 2751084 h 6858000"/>
              <a:gd name="connsiteX5" fmla="*/ 10207450 w 12192000"/>
              <a:gd name="connsiteY5" fmla="*/ 338051 h 6858000"/>
              <a:gd name="connsiteX6" fmla="*/ 10143315 w 12192000"/>
              <a:gd name="connsiteY6" fmla="*/ 1031751 h 6858000"/>
              <a:gd name="connsiteX7" fmla="*/ 11902124 w 12192000"/>
              <a:gd name="connsiteY7" fmla="*/ 1031116 h 6858000"/>
              <a:gd name="connsiteX8" fmla="*/ 11904029 w 12192000"/>
              <a:gd name="connsiteY8" fmla="*/ 263756 h 6858000"/>
              <a:gd name="connsiteX9" fmla="*/ 10207450 w 12192000"/>
              <a:gd name="connsiteY9" fmla="*/ 33805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2751084 h 6858000"/>
              <a:gd name="connsiteX1" fmla="*/ 361950 w 12192000"/>
              <a:gd name="connsiteY1" fmla="*/ 6534807 h 6858000"/>
              <a:gd name="connsiteX2" fmla="*/ 5401950 w 12192000"/>
              <a:gd name="connsiteY2" fmla="*/ 6534807 h 6858000"/>
              <a:gd name="connsiteX3" fmla="*/ 5401950 w 12192000"/>
              <a:gd name="connsiteY3" fmla="*/ 2751084 h 6858000"/>
              <a:gd name="connsiteX4" fmla="*/ 361950 w 12192000"/>
              <a:gd name="connsiteY4" fmla="*/ 2751084 h 6858000"/>
              <a:gd name="connsiteX5" fmla="*/ 10144585 w 12192000"/>
              <a:gd name="connsiteY5" fmla="*/ 263756 h 6858000"/>
              <a:gd name="connsiteX6" fmla="*/ 10143315 w 12192000"/>
              <a:gd name="connsiteY6" fmla="*/ 1031751 h 6858000"/>
              <a:gd name="connsiteX7" fmla="*/ 11902124 w 12192000"/>
              <a:gd name="connsiteY7" fmla="*/ 1031116 h 6858000"/>
              <a:gd name="connsiteX8" fmla="*/ 11904029 w 12192000"/>
              <a:gd name="connsiteY8" fmla="*/ 263756 h 6858000"/>
              <a:gd name="connsiteX9" fmla="*/ 10144585 w 12192000"/>
              <a:gd name="connsiteY9" fmla="*/ 26375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2751084 h 6858000"/>
              <a:gd name="connsiteX1" fmla="*/ 361950 w 12192000"/>
              <a:gd name="connsiteY1" fmla="*/ 6534807 h 6858000"/>
              <a:gd name="connsiteX2" fmla="*/ 5401950 w 12192000"/>
              <a:gd name="connsiteY2" fmla="*/ 6534807 h 6858000"/>
              <a:gd name="connsiteX3" fmla="*/ 5401950 w 12192000"/>
              <a:gd name="connsiteY3" fmla="*/ 2751084 h 6858000"/>
              <a:gd name="connsiteX4" fmla="*/ 361950 w 12192000"/>
              <a:gd name="connsiteY4" fmla="*/ 2751084 h 6858000"/>
              <a:gd name="connsiteX5" fmla="*/ 10144585 w 12192000"/>
              <a:gd name="connsiteY5" fmla="*/ 263756 h 6858000"/>
              <a:gd name="connsiteX6" fmla="*/ 10143315 w 12192000"/>
              <a:gd name="connsiteY6" fmla="*/ 1031751 h 6858000"/>
              <a:gd name="connsiteX7" fmla="*/ 11902124 w 12192000"/>
              <a:gd name="connsiteY7" fmla="*/ 1031116 h 6858000"/>
              <a:gd name="connsiteX8" fmla="*/ 11900219 w 12192000"/>
              <a:gd name="connsiteY8" fmla="*/ 267566 h 6858000"/>
              <a:gd name="connsiteX9" fmla="*/ 10144585 w 12192000"/>
              <a:gd name="connsiteY9" fmla="*/ 26375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2751084 h 6858000"/>
              <a:gd name="connsiteX1" fmla="*/ 361950 w 12192000"/>
              <a:gd name="connsiteY1" fmla="*/ 6534807 h 6858000"/>
              <a:gd name="connsiteX2" fmla="*/ 5401950 w 12192000"/>
              <a:gd name="connsiteY2" fmla="*/ 6534807 h 6858000"/>
              <a:gd name="connsiteX3" fmla="*/ 5401950 w 12192000"/>
              <a:gd name="connsiteY3" fmla="*/ 2751084 h 6858000"/>
              <a:gd name="connsiteX4" fmla="*/ 361950 w 12192000"/>
              <a:gd name="connsiteY4" fmla="*/ 2751084 h 6858000"/>
              <a:gd name="connsiteX5" fmla="*/ 10144585 w 12192000"/>
              <a:gd name="connsiteY5" fmla="*/ 263756 h 6858000"/>
              <a:gd name="connsiteX6" fmla="*/ 10143315 w 12192000"/>
              <a:gd name="connsiteY6" fmla="*/ 1031751 h 6858000"/>
              <a:gd name="connsiteX7" fmla="*/ 11858309 w 12192000"/>
              <a:gd name="connsiteY7" fmla="*/ 994921 h 6858000"/>
              <a:gd name="connsiteX8" fmla="*/ 11900219 w 12192000"/>
              <a:gd name="connsiteY8" fmla="*/ 267566 h 6858000"/>
              <a:gd name="connsiteX9" fmla="*/ 10144585 w 12192000"/>
              <a:gd name="connsiteY9" fmla="*/ 26375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2751084 h 6858000"/>
              <a:gd name="connsiteX1" fmla="*/ 361950 w 12192000"/>
              <a:gd name="connsiteY1" fmla="*/ 6534807 h 6858000"/>
              <a:gd name="connsiteX2" fmla="*/ 5401950 w 12192000"/>
              <a:gd name="connsiteY2" fmla="*/ 6534807 h 6858000"/>
              <a:gd name="connsiteX3" fmla="*/ 5401950 w 12192000"/>
              <a:gd name="connsiteY3" fmla="*/ 2751084 h 6858000"/>
              <a:gd name="connsiteX4" fmla="*/ 361950 w 12192000"/>
              <a:gd name="connsiteY4" fmla="*/ 2751084 h 6858000"/>
              <a:gd name="connsiteX5" fmla="*/ 10146490 w 12192000"/>
              <a:gd name="connsiteY5" fmla="*/ 265661 h 6858000"/>
              <a:gd name="connsiteX6" fmla="*/ 10143315 w 12192000"/>
              <a:gd name="connsiteY6" fmla="*/ 1031751 h 6858000"/>
              <a:gd name="connsiteX7" fmla="*/ 11858309 w 12192000"/>
              <a:gd name="connsiteY7" fmla="*/ 994921 h 6858000"/>
              <a:gd name="connsiteX8" fmla="*/ 11900219 w 12192000"/>
              <a:gd name="connsiteY8" fmla="*/ 267566 h 6858000"/>
              <a:gd name="connsiteX9" fmla="*/ 10146490 w 12192000"/>
              <a:gd name="connsiteY9" fmla="*/ 26566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2751084 h 6858000"/>
              <a:gd name="connsiteX1" fmla="*/ 361950 w 12192000"/>
              <a:gd name="connsiteY1" fmla="*/ 6534807 h 6858000"/>
              <a:gd name="connsiteX2" fmla="*/ 5401950 w 12192000"/>
              <a:gd name="connsiteY2" fmla="*/ 6534807 h 6858000"/>
              <a:gd name="connsiteX3" fmla="*/ 5401950 w 12192000"/>
              <a:gd name="connsiteY3" fmla="*/ 2751084 h 6858000"/>
              <a:gd name="connsiteX4" fmla="*/ 361950 w 12192000"/>
              <a:gd name="connsiteY4" fmla="*/ 2751084 h 6858000"/>
              <a:gd name="connsiteX5" fmla="*/ 10146490 w 12192000"/>
              <a:gd name="connsiteY5" fmla="*/ 265661 h 6858000"/>
              <a:gd name="connsiteX6" fmla="*/ 10143315 w 12192000"/>
              <a:gd name="connsiteY6" fmla="*/ 1031751 h 6858000"/>
              <a:gd name="connsiteX7" fmla="*/ 11904029 w 12192000"/>
              <a:gd name="connsiteY7" fmla="*/ 1025401 h 6858000"/>
              <a:gd name="connsiteX8" fmla="*/ 11900219 w 12192000"/>
              <a:gd name="connsiteY8" fmla="*/ 267566 h 6858000"/>
              <a:gd name="connsiteX9" fmla="*/ 10146490 w 12192000"/>
              <a:gd name="connsiteY9" fmla="*/ 26566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2751084 h 6858000"/>
              <a:gd name="connsiteX1" fmla="*/ 361950 w 12192000"/>
              <a:gd name="connsiteY1" fmla="*/ 6534807 h 6858000"/>
              <a:gd name="connsiteX2" fmla="*/ 5401950 w 12192000"/>
              <a:gd name="connsiteY2" fmla="*/ 6534807 h 6858000"/>
              <a:gd name="connsiteX3" fmla="*/ 5401950 w 12192000"/>
              <a:gd name="connsiteY3" fmla="*/ 2751084 h 6858000"/>
              <a:gd name="connsiteX4" fmla="*/ 361950 w 12192000"/>
              <a:gd name="connsiteY4" fmla="*/ 2751084 h 6858000"/>
              <a:gd name="connsiteX5" fmla="*/ 10146490 w 12192000"/>
              <a:gd name="connsiteY5" fmla="*/ 265661 h 6858000"/>
              <a:gd name="connsiteX6" fmla="*/ 10145220 w 12192000"/>
              <a:gd name="connsiteY6" fmla="*/ 1026036 h 6858000"/>
              <a:gd name="connsiteX7" fmla="*/ 11904029 w 12192000"/>
              <a:gd name="connsiteY7" fmla="*/ 1025401 h 6858000"/>
              <a:gd name="connsiteX8" fmla="*/ 11900219 w 12192000"/>
              <a:gd name="connsiteY8" fmla="*/ 267566 h 6858000"/>
              <a:gd name="connsiteX9" fmla="*/ 10146490 w 12192000"/>
              <a:gd name="connsiteY9" fmla="*/ 26566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2751084 h 6858000"/>
              <a:gd name="connsiteX1" fmla="*/ 361950 w 12192000"/>
              <a:gd name="connsiteY1" fmla="*/ 6534807 h 6858000"/>
              <a:gd name="connsiteX2" fmla="*/ 5401950 w 12192000"/>
              <a:gd name="connsiteY2" fmla="*/ 6534807 h 6858000"/>
              <a:gd name="connsiteX3" fmla="*/ 5401950 w 12192000"/>
              <a:gd name="connsiteY3" fmla="*/ 2751084 h 6858000"/>
              <a:gd name="connsiteX4" fmla="*/ 361950 w 12192000"/>
              <a:gd name="connsiteY4" fmla="*/ 2751084 h 6858000"/>
              <a:gd name="connsiteX5" fmla="*/ 10146490 w 12192000"/>
              <a:gd name="connsiteY5" fmla="*/ 265661 h 6858000"/>
              <a:gd name="connsiteX6" fmla="*/ 10145220 w 12192000"/>
              <a:gd name="connsiteY6" fmla="*/ 1029846 h 6858000"/>
              <a:gd name="connsiteX7" fmla="*/ 11904029 w 12192000"/>
              <a:gd name="connsiteY7" fmla="*/ 1025401 h 6858000"/>
              <a:gd name="connsiteX8" fmla="*/ 11900219 w 12192000"/>
              <a:gd name="connsiteY8" fmla="*/ 267566 h 6858000"/>
              <a:gd name="connsiteX9" fmla="*/ 10146490 w 12192000"/>
              <a:gd name="connsiteY9" fmla="*/ 26566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2751084 h 6858000"/>
              <a:gd name="connsiteX1" fmla="*/ 361950 w 12192000"/>
              <a:gd name="connsiteY1" fmla="*/ 6534807 h 6858000"/>
              <a:gd name="connsiteX2" fmla="*/ 5401950 w 12192000"/>
              <a:gd name="connsiteY2" fmla="*/ 6534807 h 6858000"/>
              <a:gd name="connsiteX3" fmla="*/ 5401950 w 12192000"/>
              <a:gd name="connsiteY3" fmla="*/ 2751084 h 6858000"/>
              <a:gd name="connsiteX4" fmla="*/ 361950 w 12192000"/>
              <a:gd name="connsiteY4" fmla="*/ 2751084 h 6858000"/>
              <a:gd name="connsiteX5" fmla="*/ 10146490 w 12192000"/>
              <a:gd name="connsiteY5" fmla="*/ 265661 h 6858000"/>
              <a:gd name="connsiteX6" fmla="*/ 10149030 w 12192000"/>
              <a:gd name="connsiteY6" fmla="*/ 1029846 h 6858000"/>
              <a:gd name="connsiteX7" fmla="*/ 11904029 w 12192000"/>
              <a:gd name="connsiteY7" fmla="*/ 1025401 h 6858000"/>
              <a:gd name="connsiteX8" fmla="*/ 11900219 w 12192000"/>
              <a:gd name="connsiteY8" fmla="*/ 267566 h 6858000"/>
              <a:gd name="connsiteX9" fmla="*/ 10146490 w 12192000"/>
              <a:gd name="connsiteY9" fmla="*/ 26566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2751084 h 6858000"/>
              <a:gd name="connsiteX1" fmla="*/ 361950 w 12192000"/>
              <a:gd name="connsiteY1" fmla="*/ 6534807 h 6858000"/>
              <a:gd name="connsiteX2" fmla="*/ 5401950 w 12192000"/>
              <a:gd name="connsiteY2" fmla="*/ 6534807 h 6858000"/>
              <a:gd name="connsiteX3" fmla="*/ 5401950 w 12192000"/>
              <a:gd name="connsiteY3" fmla="*/ 2751084 h 6858000"/>
              <a:gd name="connsiteX4" fmla="*/ 361950 w 12192000"/>
              <a:gd name="connsiteY4" fmla="*/ 2751084 h 6858000"/>
              <a:gd name="connsiteX5" fmla="*/ 10146490 w 12192000"/>
              <a:gd name="connsiteY5" fmla="*/ 265661 h 6858000"/>
              <a:gd name="connsiteX6" fmla="*/ 10147125 w 12192000"/>
              <a:gd name="connsiteY6" fmla="*/ 1029846 h 6858000"/>
              <a:gd name="connsiteX7" fmla="*/ 11904029 w 12192000"/>
              <a:gd name="connsiteY7" fmla="*/ 1025401 h 6858000"/>
              <a:gd name="connsiteX8" fmla="*/ 11900219 w 12192000"/>
              <a:gd name="connsiteY8" fmla="*/ 267566 h 6858000"/>
              <a:gd name="connsiteX9" fmla="*/ 10146490 w 12192000"/>
              <a:gd name="connsiteY9" fmla="*/ 26566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2751084 h 6858000"/>
              <a:gd name="connsiteX1" fmla="*/ 361950 w 12192000"/>
              <a:gd name="connsiteY1" fmla="*/ 6534807 h 6858000"/>
              <a:gd name="connsiteX2" fmla="*/ 5401950 w 12192000"/>
              <a:gd name="connsiteY2" fmla="*/ 6534807 h 6858000"/>
              <a:gd name="connsiteX3" fmla="*/ 5401950 w 12192000"/>
              <a:gd name="connsiteY3" fmla="*/ 2751084 h 6858000"/>
              <a:gd name="connsiteX4" fmla="*/ 361950 w 12192000"/>
              <a:gd name="connsiteY4" fmla="*/ 2751084 h 6858000"/>
              <a:gd name="connsiteX5" fmla="*/ 10146490 w 12192000"/>
              <a:gd name="connsiteY5" fmla="*/ 265661 h 6858000"/>
              <a:gd name="connsiteX6" fmla="*/ 10147125 w 12192000"/>
              <a:gd name="connsiteY6" fmla="*/ 1029846 h 6858000"/>
              <a:gd name="connsiteX7" fmla="*/ 11904029 w 12192000"/>
              <a:gd name="connsiteY7" fmla="*/ 1025401 h 6858000"/>
              <a:gd name="connsiteX8" fmla="*/ 11905934 w 12192000"/>
              <a:gd name="connsiteY8" fmla="*/ 267566 h 6858000"/>
              <a:gd name="connsiteX9" fmla="*/ 10146490 w 12192000"/>
              <a:gd name="connsiteY9" fmla="*/ 26566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2751084 h 6858000"/>
              <a:gd name="connsiteX1" fmla="*/ 361950 w 12192000"/>
              <a:gd name="connsiteY1" fmla="*/ 6534807 h 6858000"/>
              <a:gd name="connsiteX2" fmla="*/ 5401950 w 12192000"/>
              <a:gd name="connsiteY2" fmla="*/ 6534807 h 6858000"/>
              <a:gd name="connsiteX3" fmla="*/ 5401950 w 12192000"/>
              <a:gd name="connsiteY3" fmla="*/ 2751084 h 6858000"/>
              <a:gd name="connsiteX4" fmla="*/ 361950 w 12192000"/>
              <a:gd name="connsiteY4" fmla="*/ 2751084 h 6858000"/>
              <a:gd name="connsiteX5" fmla="*/ 10146490 w 12192000"/>
              <a:gd name="connsiteY5" fmla="*/ 265661 h 6858000"/>
              <a:gd name="connsiteX6" fmla="*/ 10147125 w 12192000"/>
              <a:gd name="connsiteY6" fmla="*/ 1029846 h 6858000"/>
              <a:gd name="connsiteX7" fmla="*/ 11904029 w 12192000"/>
              <a:gd name="connsiteY7" fmla="*/ 1025401 h 6858000"/>
              <a:gd name="connsiteX8" fmla="*/ 11709719 w 12192000"/>
              <a:gd name="connsiteY8" fmla="*/ 452351 h 6858000"/>
              <a:gd name="connsiteX9" fmla="*/ 10146490 w 12192000"/>
              <a:gd name="connsiteY9" fmla="*/ 26566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2751084 h 6858000"/>
              <a:gd name="connsiteX1" fmla="*/ 361950 w 12192000"/>
              <a:gd name="connsiteY1" fmla="*/ 6534807 h 6858000"/>
              <a:gd name="connsiteX2" fmla="*/ 5401950 w 12192000"/>
              <a:gd name="connsiteY2" fmla="*/ 6534807 h 6858000"/>
              <a:gd name="connsiteX3" fmla="*/ 5401950 w 12192000"/>
              <a:gd name="connsiteY3" fmla="*/ 2751084 h 6858000"/>
              <a:gd name="connsiteX4" fmla="*/ 361950 w 12192000"/>
              <a:gd name="connsiteY4" fmla="*/ 2751084 h 6858000"/>
              <a:gd name="connsiteX5" fmla="*/ 10146490 w 12192000"/>
              <a:gd name="connsiteY5" fmla="*/ 265661 h 6858000"/>
              <a:gd name="connsiteX6" fmla="*/ 10147125 w 12192000"/>
              <a:gd name="connsiteY6" fmla="*/ 1029846 h 6858000"/>
              <a:gd name="connsiteX7" fmla="*/ 11904029 w 12192000"/>
              <a:gd name="connsiteY7" fmla="*/ 1025401 h 6858000"/>
              <a:gd name="connsiteX8" fmla="*/ 11902124 w 12192000"/>
              <a:gd name="connsiteY8" fmla="*/ 267566 h 6858000"/>
              <a:gd name="connsiteX9" fmla="*/ 10146490 w 12192000"/>
              <a:gd name="connsiteY9" fmla="*/ 26566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2751084 h 6858000"/>
              <a:gd name="connsiteX1" fmla="*/ 361950 w 12192000"/>
              <a:gd name="connsiteY1" fmla="*/ 6534807 h 6858000"/>
              <a:gd name="connsiteX2" fmla="*/ 5401950 w 12192000"/>
              <a:gd name="connsiteY2" fmla="*/ 6534807 h 6858000"/>
              <a:gd name="connsiteX3" fmla="*/ 5401950 w 12192000"/>
              <a:gd name="connsiteY3" fmla="*/ 2751084 h 6858000"/>
              <a:gd name="connsiteX4" fmla="*/ 361950 w 12192000"/>
              <a:gd name="connsiteY4" fmla="*/ 2751084 h 6858000"/>
              <a:gd name="connsiteX5" fmla="*/ 10146490 w 12192000"/>
              <a:gd name="connsiteY5" fmla="*/ 265661 h 6858000"/>
              <a:gd name="connsiteX6" fmla="*/ 10398585 w 12192000"/>
              <a:gd name="connsiteY6" fmla="*/ 778386 h 6858000"/>
              <a:gd name="connsiteX7" fmla="*/ 11904029 w 12192000"/>
              <a:gd name="connsiteY7" fmla="*/ 1025401 h 6858000"/>
              <a:gd name="connsiteX8" fmla="*/ 11902124 w 12192000"/>
              <a:gd name="connsiteY8" fmla="*/ 267566 h 6858000"/>
              <a:gd name="connsiteX9" fmla="*/ 10146490 w 12192000"/>
              <a:gd name="connsiteY9" fmla="*/ 26566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2751084 h 6858000"/>
              <a:gd name="connsiteX1" fmla="*/ 361950 w 12192000"/>
              <a:gd name="connsiteY1" fmla="*/ 6534807 h 6858000"/>
              <a:gd name="connsiteX2" fmla="*/ 5401950 w 12192000"/>
              <a:gd name="connsiteY2" fmla="*/ 6534807 h 6858000"/>
              <a:gd name="connsiteX3" fmla="*/ 5401950 w 12192000"/>
              <a:gd name="connsiteY3" fmla="*/ 2751084 h 6858000"/>
              <a:gd name="connsiteX4" fmla="*/ 361950 w 12192000"/>
              <a:gd name="connsiteY4" fmla="*/ 2751084 h 6858000"/>
              <a:gd name="connsiteX5" fmla="*/ 10146490 w 12192000"/>
              <a:gd name="connsiteY5" fmla="*/ 265661 h 6858000"/>
              <a:gd name="connsiteX6" fmla="*/ 10145220 w 12192000"/>
              <a:gd name="connsiteY6" fmla="*/ 1027941 h 6858000"/>
              <a:gd name="connsiteX7" fmla="*/ 11904029 w 12192000"/>
              <a:gd name="connsiteY7" fmla="*/ 1025401 h 6858000"/>
              <a:gd name="connsiteX8" fmla="*/ 11902124 w 12192000"/>
              <a:gd name="connsiteY8" fmla="*/ 267566 h 6858000"/>
              <a:gd name="connsiteX9" fmla="*/ 10146490 w 12192000"/>
              <a:gd name="connsiteY9" fmla="*/ 26566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2751084 h 6858000"/>
              <a:gd name="connsiteX1" fmla="*/ 285750 w 12192000"/>
              <a:gd name="connsiteY1" fmla="*/ 6595767 h 6858000"/>
              <a:gd name="connsiteX2" fmla="*/ 5401950 w 12192000"/>
              <a:gd name="connsiteY2" fmla="*/ 6534807 h 6858000"/>
              <a:gd name="connsiteX3" fmla="*/ 5401950 w 12192000"/>
              <a:gd name="connsiteY3" fmla="*/ 2751084 h 6858000"/>
              <a:gd name="connsiteX4" fmla="*/ 361950 w 12192000"/>
              <a:gd name="connsiteY4" fmla="*/ 2751084 h 6858000"/>
              <a:gd name="connsiteX5" fmla="*/ 10146490 w 12192000"/>
              <a:gd name="connsiteY5" fmla="*/ 265661 h 6858000"/>
              <a:gd name="connsiteX6" fmla="*/ 10145220 w 12192000"/>
              <a:gd name="connsiteY6" fmla="*/ 1027941 h 6858000"/>
              <a:gd name="connsiteX7" fmla="*/ 11904029 w 12192000"/>
              <a:gd name="connsiteY7" fmla="*/ 1025401 h 6858000"/>
              <a:gd name="connsiteX8" fmla="*/ 11902124 w 12192000"/>
              <a:gd name="connsiteY8" fmla="*/ 267566 h 6858000"/>
              <a:gd name="connsiteX9" fmla="*/ 10146490 w 12192000"/>
              <a:gd name="connsiteY9" fmla="*/ 26566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285750 w 12192000"/>
              <a:gd name="connsiteY0" fmla="*/ 2822204 h 6858000"/>
              <a:gd name="connsiteX1" fmla="*/ 285750 w 12192000"/>
              <a:gd name="connsiteY1" fmla="*/ 6595767 h 6858000"/>
              <a:gd name="connsiteX2" fmla="*/ 5401950 w 12192000"/>
              <a:gd name="connsiteY2" fmla="*/ 6534807 h 6858000"/>
              <a:gd name="connsiteX3" fmla="*/ 5401950 w 12192000"/>
              <a:gd name="connsiteY3" fmla="*/ 2751084 h 6858000"/>
              <a:gd name="connsiteX4" fmla="*/ 285750 w 12192000"/>
              <a:gd name="connsiteY4" fmla="*/ 2822204 h 6858000"/>
              <a:gd name="connsiteX5" fmla="*/ 10146490 w 12192000"/>
              <a:gd name="connsiteY5" fmla="*/ 265661 h 6858000"/>
              <a:gd name="connsiteX6" fmla="*/ 10145220 w 12192000"/>
              <a:gd name="connsiteY6" fmla="*/ 1027941 h 6858000"/>
              <a:gd name="connsiteX7" fmla="*/ 11904029 w 12192000"/>
              <a:gd name="connsiteY7" fmla="*/ 1025401 h 6858000"/>
              <a:gd name="connsiteX8" fmla="*/ 11902124 w 12192000"/>
              <a:gd name="connsiteY8" fmla="*/ 267566 h 6858000"/>
              <a:gd name="connsiteX9" fmla="*/ 10146490 w 12192000"/>
              <a:gd name="connsiteY9" fmla="*/ 26566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285750 w 12192000"/>
              <a:gd name="connsiteY0" fmla="*/ 2822204 h 6858000"/>
              <a:gd name="connsiteX1" fmla="*/ 285750 w 12192000"/>
              <a:gd name="connsiteY1" fmla="*/ 6595767 h 6858000"/>
              <a:gd name="connsiteX2" fmla="*/ 5401950 w 12192000"/>
              <a:gd name="connsiteY2" fmla="*/ 6534807 h 6858000"/>
              <a:gd name="connsiteX3" fmla="*/ 5330830 w 12192000"/>
              <a:gd name="connsiteY3" fmla="*/ 2822204 h 6858000"/>
              <a:gd name="connsiteX4" fmla="*/ 285750 w 12192000"/>
              <a:gd name="connsiteY4" fmla="*/ 2822204 h 6858000"/>
              <a:gd name="connsiteX5" fmla="*/ 10146490 w 12192000"/>
              <a:gd name="connsiteY5" fmla="*/ 265661 h 6858000"/>
              <a:gd name="connsiteX6" fmla="*/ 10145220 w 12192000"/>
              <a:gd name="connsiteY6" fmla="*/ 1027941 h 6858000"/>
              <a:gd name="connsiteX7" fmla="*/ 11904029 w 12192000"/>
              <a:gd name="connsiteY7" fmla="*/ 1025401 h 6858000"/>
              <a:gd name="connsiteX8" fmla="*/ 11902124 w 12192000"/>
              <a:gd name="connsiteY8" fmla="*/ 267566 h 6858000"/>
              <a:gd name="connsiteX9" fmla="*/ 10146490 w 12192000"/>
              <a:gd name="connsiteY9" fmla="*/ 26566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285750 w 12192000"/>
              <a:gd name="connsiteY0" fmla="*/ 2822204 h 6858000"/>
              <a:gd name="connsiteX1" fmla="*/ 285750 w 12192000"/>
              <a:gd name="connsiteY1" fmla="*/ 6595767 h 6858000"/>
              <a:gd name="connsiteX2" fmla="*/ 5325750 w 12192000"/>
              <a:gd name="connsiteY2" fmla="*/ 6595767 h 6858000"/>
              <a:gd name="connsiteX3" fmla="*/ 5330830 w 12192000"/>
              <a:gd name="connsiteY3" fmla="*/ 2822204 h 6858000"/>
              <a:gd name="connsiteX4" fmla="*/ 285750 w 12192000"/>
              <a:gd name="connsiteY4" fmla="*/ 2822204 h 6858000"/>
              <a:gd name="connsiteX5" fmla="*/ 10146490 w 12192000"/>
              <a:gd name="connsiteY5" fmla="*/ 265661 h 6858000"/>
              <a:gd name="connsiteX6" fmla="*/ 10145220 w 12192000"/>
              <a:gd name="connsiteY6" fmla="*/ 1027941 h 6858000"/>
              <a:gd name="connsiteX7" fmla="*/ 11904029 w 12192000"/>
              <a:gd name="connsiteY7" fmla="*/ 1025401 h 6858000"/>
              <a:gd name="connsiteX8" fmla="*/ 11902124 w 12192000"/>
              <a:gd name="connsiteY8" fmla="*/ 267566 h 6858000"/>
              <a:gd name="connsiteX9" fmla="*/ 10146490 w 12192000"/>
              <a:gd name="connsiteY9" fmla="*/ 26566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192000" h="6858000">
                <a:moveTo>
                  <a:pt x="285750" y="2822204"/>
                </a:moveTo>
                <a:lnTo>
                  <a:pt x="285750" y="6595767"/>
                </a:lnTo>
                <a:lnTo>
                  <a:pt x="5325750" y="6595767"/>
                </a:lnTo>
                <a:cubicBezTo>
                  <a:pt x="5327443" y="5337913"/>
                  <a:pt x="5329137" y="4080058"/>
                  <a:pt x="5330830" y="2822204"/>
                </a:cubicBezTo>
                <a:lnTo>
                  <a:pt x="285750" y="2822204"/>
                </a:lnTo>
                <a:close/>
                <a:moveTo>
                  <a:pt x="10146490" y="265661"/>
                </a:moveTo>
                <a:cubicBezTo>
                  <a:pt x="10144797" y="524199"/>
                  <a:pt x="10146913" y="769403"/>
                  <a:pt x="10145220" y="1027941"/>
                </a:cubicBezTo>
                <a:lnTo>
                  <a:pt x="11904029" y="1025401"/>
                </a:lnTo>
                <a:lnTo>
                  <a:pt x="11902124" y="267566"/>
                </a:lnTo>
                <a:lnTo>
                  <a:pt x="10146490" y="265661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8" name="Subline">
            <a:extLst>
              <a:ext uri="{FF2B5EF4-FFF2-40B4-BE49-F238E27FC236}">
                <a16:creationId xmlns:a16="http://schemas.microsoft.com/office/drawing/2014/main" id="{F64F20BE-9490-4534-8D22-D527DF582B1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4904" y="5510860"/>
            <a:ext cx="5040313" cy="360000"/>
          </a:xfrm>
          <a:prstGeom prst="rect">
            <a:avLst/>
          </a:prstGeom>
        </p:spPr>
        <p:txBody>
          <a:bodyPr lIns="288000" rIns="288000" anchor="b" anchorCtr="0">
            <a:noAutofit/>
          </a:bodyPr>
          <a:lstStyle>
            <a:lvl1pPr marL="0" indent="0">
              <a:buNone/>
              <a:defRPr sz="1600" b="1" cap="none" baseline="0">
                <a:latin typeface="+mj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DCF84473-59A5-4A28-B312-2557D7CFAFB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4904" y="5886100"/>
            <a:ext cx="5040313" cy="189474"/>
          </a:xfrm>
          <a:prstGeom prst="rect">
            <a:avLst/>
          </a:prstGeom>
        </p:spPr>
        <p:txBody>
          <a:bodyPr lIns="288000" tIns="36000">
            <a:noAutofit/>
          </a:bodyPr>
          <a:lstStyle>
            <a:lvl1pPr marL="0" indent="0">
              <a:buNone/>
              <a:defRPr sz="1600" cap="none" baseline="0"/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10" name="Textplatzhalter 4">
            <a:extLst>
              <a:ext uri="{FF2B5EF4-FFF2-40B4-BE49-F238E27FC236}">
                <a16:creationId xmlns:a16="http://schemas.microsoft.com/office/drawing/2014/main" id="{57D522EB-93F7-49B3-9164-076263457E7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4904" y="6091840"/>
            <a:ext cx="5040313" cy="189474"/>
          </a:xfrm>
          <a:prstGeom prst="rect">
            <a:avLst/>
          </a:prstGeom>
        </p:spPr>
        <p:txBody>
          <a:bodyPr lIns="288000" tIns="36000">
            <a:noAutofit/>
          </a:bodyPr>
          <a:lstStyle>
            <a:lvl1pPr marL="0" indent="0">
              <a:buNone/>
              <a:defRPr sz="1600" cap="none" baseline="0"/>
            </a:lvl1pPr>
          </a:lstStyle>
          <a:p>
            <a:pPr lvl="0"/>
            <a:r>
              <a:rPr lang="de-DE" dirty="0"/>
              <a:t>Datum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5CF86407-DA27-4CA6-A346-F8477F884E96}"/>
              </a:ext>
            </a:extLst>
          </p:cNvPr>
          <p:cNvSpPr>
            <a:spLocks/>
          </p:cNvSpPr>
          <p:nvPr userDrawn="1"/>
        </p:nvSpPr>
        <p:spPr>
          <a:xfrm>
            <a:off x="-1939923" y="2913099"/>
            <a:ext cx="1772284" cy="1031803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spAutoFit/>
          </a:bodyPr>
          <a:lstStyle/>
          <a:p>
            <a:pPr algn="ctr">
              <a:lnSpc>
                <a:spcPct val="90000"/>
              </a:lnSpc>
            </a:pPr>
            <a:r>
              <a:rPr lang="de-DE" sz="1600" b="0" dirty="0">
                <a:solidFill>
                  <a:schemeClr val="tx1"/>
                </a:solidFill>
              </a:rPr>
              <a:t>Bitte keine Folien mit vollflächigen Farben oder Motiven drucken 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8" hasCustomPrompt="1"/>
          </p:nvPr>
        </p:nvSpPr>
        <p:spPr>
          <a:xfrm>
            <a:off x="284904" y="2821005"/>
            <a:ext cx="5040313" cy="2627144"/>
          </a:xfrm>
        </p:spPr>
        <p:txBody>
          <a:bodyPr lIns="288000" tIns="288000" rIns="288000" bIns="288000"/>
          <a:lstStyle>
            <a:lvl1pPr>
              <a:spcAft>
                <a:spcPts val="0"/>
              </a:spcAft>
              <a:defRPr sz="3200">
                <a:latin typeface="STIHL Contraface Display Title" pitchFamily="50" charset="0"/>
              </a:defRPr>
            </a:lvl1pPr>
            <a:lvl2pPr>
              <a:spcAft>
                <a:spcPts val="0"/>
              </a:spcAft>
              <a:defRPr>
                <a:latin typeface="STIHL Contraface Display Title" pitchFamily="50" charset="0"/>
              </a:defRPr>
            </a:lvl2pPr>
            <a:lvl3pPr>
              <a:spcAft>
                <a:spcPts val="0"/>
              </a:spcAft>
              <a:defRPr>
                <a:latin typeface="STIHL Contraface Display Title" pitchFamily="50" charset="0"/>
              </a:defRPr>
            </a:lvl3pPr>
            <a:lvl4pPr>
              <a:spcAft>
                <a:spcPts val="0"/>
              </a:spcAft>
              <a:defRPr>
                <a:latin typeface="STIHL Contraface Display Title" pitchFamily="50" charset="0"/>
              </a:defRPr>
            </a:lvl4pPr>
            <a:lvl5pPr>
              <a:spcAft>
                <a:spcPts val="0"/>
              </a:spcAft>
              <a:defRPr>
                <a:latin typeface="STIHL Contraface Display Title" pitchFamily="50" charset="0"/>
              </a:defRPr>
            </a:lvl5pPr>
          </a:lstStyle>
          <a:p>
            <a:pPr lvl="0"/>
            <a:r>
              <a:rPr lang="de-DE" dirty="0"/>
              <a:t>Mastertitel-format bearbeiten</a:t>
            </a:r>
            <a:br>
              <a:rPr lang="de-DE" dirty="0"/>
            </a:br>
            <a:r>
              <a:rPr lang="de-DE" dirty="0"/>
              <a:t>ƒ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5CF86407-DA27-4CA6-A346-F8477F884E96}"/>
              </a:ext>
            </a:extLst>
          </p:cNvPr>
          <p:cNvSpPr>
            <a:spLocks/>
          </p:cNvSpPr>
          <p:nvPr userDrawn="1"/>
        </p:nvSpPr>
        <p:spPr>
          <a:xfrm>
            <a:off x="-1943099" y="4254839"/>
            <a:ext cx="1772284" cy="16966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72000" rIns="72000" bIns="72000" rtlCol="0" anchor="ctr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de-DE" sz="1600" b="0" dirty="0">
                <a:solidFill>
                  <a:schemeClr val="tx1"/>
                </a:solidFill>
              </a:rPr>
              <a:t>Einfügen des Unterstrichs nach der Headline über den Nummern-block und die Tastenkombination „Alt + 0131“</a:t>
            </a:r>
          </a:p>
        </p:txBody>
      </p:sp>
    </p:spTree>
    <p:extLst>
      <p:ext uri="{BB962C8B-B14F-4D97-AF65-F5344CB8AC3E}">
        <p14:creationId xmlns:p14="http://schemas.microsoft.com/office/powerpoint/2010/main" val="30710793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links / Text Inhal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C37FF3E-A92A-4E10-BE06-1BAF6DBEE3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08" imgH="408" progId="TCLayout.ActiveDocument.1">
                  <p:embed/>
                </p:oleObj>
              </mc:Choice>
              <mc:Fallback>
                <p:oleObj name="think-cell Folie" r:id="rId4" imgW="408" imgH="40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C37FF3E-A92A-4E10-BE06-1BAF6DBEE3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D59466C3-9696-446B-A506-2764C30C524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2200" b="1" i="0" baseline="0" dirty="0">
              <a:solidFill>
                <a:schemeClr val="tx1"/>
              </a:solidFill>
              <a:latin typeface="STIHL Contraface Text"/>
              <a:ea typeface="+mj-ea"/>
              <a:cs typeface="+mj-cs"/>
              <a:sym typeface="STIHL Contraface Text"/>
            </a:endParaRP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3645C76C-2B5D-4ED3-8A37-4C9BFA9F1D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6" y="503546"/>
            <a:ext cx="9579925" cy="304699"/>
          </a:xfrm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lang="de-DE" sz="2200" dirty="0"/>
            </a:lvl1pPr>
          </a:lstStyle>
          <a:p>
            <a:pPr lvl="0"/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96910D21-640F-4D2A-A173-3AEDAE01B91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79426" y="1605307"/>
            <a:ext cx="5384332" cy="484934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5E1810CB-B3A3-4F48-882E-1806957C5A9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7" y="1130300"/>
            <a:ext cx="11233147" cy="249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>
              <a:lnSpc>
                <a:spcPct val="90000"/>
              </a:lnSpc>
              <a:buNone/>
              <a:defRPr lang="de-DE" sz="1800" cap="none" baseline="0" dirty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114300" lvl="0" indent="-342900">
              <a:spcBef>
                <a:spcPct val="0"/>
              </a:spcBef>
            </a:pPr>
            <a:r>
              <a:rPr lang="de-DE" dirty="0"/>
              <a:t>Subheadline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6" hasCustomPrompt="1"/>
          </p:nvPr>
        </p:nvSpPr>
        <p:spPr>
          <a:xfrm>
            <a:off x="6328242" y="1605307"/>
            <a:ext cx="5384332" cy="4849340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53278044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nges Bild links /Text Inhal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70" imgH="371" progId="TCLayout.ActiveDocument.1">
                  <p:embed/>
                </p:oleObj>
              </mc:Choice>
              <mc:Fallback>
                <p:oleObj name="think-cell Folie" r:id="rId3" imgW="370" imgH="371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96910D21-640F-4D2A-A173-3AEDAE01B91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4068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4" hasCustomPrompt="1"/>
          </p:nvPr>
        </p:nvSpPr>
        <p:spPr>
          <a:xfrm>
            <a:off x="4547426" y="1605307"/>
            <a:ext cx="5488114" cy="4849468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16579192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groß links /Text Inhal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70" imgH="371" progId="TCLayout.ActiveDocument.1">
                  <p:embed/>
                </p:oleObj>
              </mc:Choice>
              <mc:Fallback>
                <p:oleObj name="think-cell Folie" r:id="rId3" imgW="370" imgH="371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96910D21-640F-4D2A-A173-3AEDAE01B91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731876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4" hasCustomPrompt="1"/>
          </p:nvPr>
        </p:nvSpPr>
        <p:spPr>
          <a:xfrm>
            <a:off x="7209713" y="1605307"/>
            <a:ext cx="4502861" cy="4849340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04135578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435B4EBB-2F7A-4AE4-BD00-67C8C0B62C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08" imgH="408" progId="TCLayout.ActiveDocument.1">
                  <p:embed/>
                </p:oleObj>
              </mc:Choice>
              <mc:Fallback>
                <p:oleObj name="think-cell Folie" r:id="rId4" imgW="408" imgH="408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435B4EBB-2F7A-4AE4-BD00-67C8C0B62C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A7CB53B2-ECA4-444A-AB4E-723BCED04A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2200" b="1" i="0" baseline="0" dirty="0">
              <a:solidFill>
                <a:schemeClr val="tx1"/>
              </a:solidFill>
              <a:latin typeface="STIHL Contraface Text"/>
              <a:ea typeface="+mj-ea"/>
              <a:cs typeface="+mj-cs"/>
              <a:sym typeface="STIHL Contraface Text"/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4A3FDA9-3CE6-48AD-AE14-9F756B6E73F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7" y="4810091"/>
            <a:ext cx="5384333" cy="1644556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lnSpc>
                <a:spcPct val="90000"/>
              </a:lnSpc>
              <a:buFont typeface="Arial" panose="020B0604020202020204" pitchFamily="34" charset="0"/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D7E1FB2-B072-4C41-88FD-F720EB87728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328241" y="4810091"/>
            <a:ext cx="5384333" cy="1644556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lnSpc>
                <a:spcPct val="90000"/>
              </a:lnSpc>
              <a:buFont typeface="Arial" panose="020B0604020202020204" pitchFamily="34" charset="0"/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1D6E84FA-FD4E-4697-91A3-11CC718B6B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6" y="503546"/>
            <a:ext cx="9579925" cy="304699"/>
          </a:xfrm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lang="de-DE" sz="2200" dirty="0"/>
            </a:lvl1pPr>
          </a:lstStyle>
          <a:p>
            <a:pPr lvl="0"/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4" name="Textplatzhalter 8">
            <a:extLst>
              <a:ext uri="{FF2B5EF4-FFF2-40B4-BE49-F238E27FC236}">
                <a16:creationId xmlns:a16="http://schemas.microsoft.com/office/drawing/2014/main" id="{6584C2F4-58E3-486D-88D2-9F6D570B6CA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7" y="1130300"/>
            <a:ext cx="11233147" cy="249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>
              <a:lnSpc>
                <a:spcPct val="90000"/>
              </a:lnSpc>
              <a:buNone/>
              <a:defRPr lang="de-DE" sz="1800" cap="none" baseline="0" dirty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114300" lvl="0" indent="-342900">
              <a:spcBef>
                <a:spcPct val="0"/>
              </a:spcBef>
            </a:pPr>
            <a:r>
              <a:rPr lang="de-DE" dirty="0"/>
              <a:t>Subheadline</a:t>
            </a:r>
          </a:p>
        </p:txBody>
      </p:sp>
      <p:sp>
        <p:nvSpPr>
          <p:cNvPr id="8" name="Inhaltsplatzhalter 7"/>
          <p:cNvSpPr>
            <a:spLocks noGrp="1"/>
          </p:cNvSpPr>
          <p:nvPr>
            <p:ph sz="quarter" idx="14" hasCustomPrompt="1"/>
          </p:nvPr>
        </p:nvSpPr>
        <p:spPr>
          <a:xfrm>
            <a:off x="479427" y="1605307"/>
            <a:ext cx="5384333" cy="3075921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3" name="Inhaltsplatzhalter 7"/>
          <p:cNvSpPr>
            <a:spLocks noGrp="1"/>
          </p:cNvSpPr>
          <p:nvPr>
            <p:ph sz="quarter" idx="15" hasCustomPrompt="1"/>
          </p:nvPr>
        </p:nvSpPr>
        <p:spPr>
          <a:xfrm>
            <a:off x="6328241" y="1605307"/>
            <a:ext cx="5384333" cy="3075921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15888413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70" imgH="371" progId="TCLayout.ActiveDocument.1">
                  <p:embed/>
                </p:oleObj>
              </mc:Choice>
              <mc:Fallback>
                <p:oleObj name="think-cell Folie" r:id="rId3" imgW="370" imgH="371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ED7967F9-E942-4760-BBB0-7377F089841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5CF86407-DA27-4CA6-A346-F8477F884E96}"/>
              </a:ext>
            </a:extLst>
          </p:cNvPr>
          <p:cNvSpPr>
            <a:spLocks/>
          </p:cNvSpPr>
          <p:nvPr userDrawn="1"/>
        </p:nvSpPr>
        <p:spPr>
          <a:xfrm>
            <a:off x="-1939923" y="2913099"/>
            <a:ext cx="1772284" cy="1031803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spAutoFit/>
          </a:bodyPr>
          <a:lstStyle/>
          <a:p>
            <a:pPr algn="ctr">
              <a:lnSpc>
                <a:spcPct val="90000"/>
              </a:lnSpc>
            </a:pPr>
            <a:r>
              <a:rPr lang="de-DE" sz="1600" b="0" dirty="0">
                <a:solidFill>
                  <a:schemeClr val="tx1"/>
                </a:solidFill>
              </a:rPr>
              <a:t>Bitte keine Folien mit vollflächigen Farben oder Motiven drucken </a:t>
            </a:r>
          </a:p>
        </p:txBody>
      </p:sp>
    </p:spTree>
    <p:extLst>
      <p:ext uri="{BB962C8B-B14F-4D97-AF65-F5344CB8AC3E}">
        <p14:creationId xmlns:p14="http://schemas.microsoft.com/office/powerpoint/2010/main" val="208428921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ünf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70" imgH="371" progId="TCLayout.ActiveDocument.1">
                  <p:embed/>
                </p:oleObj>
              </mc:Choice>
              <mc:Fallback>
                <p:oleObj name="think-cell Folie" r:id="rId3" imgW="370" imgH="371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ED7967F9-E942-4760-BBB0-7377F089841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79427" y="503236"/>
            <a:ext cx="7434865" cy="287662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4" name="Bildplatzhalter 7">
            <a:extLst>
              <a:ext uri="{FF2B5EF4-FFF2-40B4-BE49-F238E27FC236}">
                <a16:creationId xmlns:a16="http://schemas.microsoft.com/office/drawing/2014/main" id="{3874E60C-732A-46D4-A0D2-7308833B35F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12574" y="503236"/>
            <a:ext cx="3600000" cy="287662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" name="Bildplatzhalter 7">
            <a:extLst>
              <a:ext uri="{FF2B5EF4-FFF2-40B4-BE49-F238E27FC236}">
                <a16:creationId xmlns:a16="http://schemas.microsoft.com/office/drawing/2014/main" id="{39157FFC-465D-4202-AA4E-49F8E951F1B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112574" y="3578021"/>
            <a:ext cx="3600000" cy="28766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6" name="Bildplatzhalter 7">
            <a:extLst>
              <a:ext uri="{FF2B5EF4-FFF2-40B4-BE49-F238E27FC236}">
                <a16:creationId xmlns:a16="http://schemas.microsoft.com/office/drawing/2014/main" id="{398ADFCC-9F73-4FCE-B41A-76494D790B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326524" y="3578021"/>
            <a:ext cx="4587765" cy="28766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7" name="Bildplatzhalter 7">
            <a:extLst>
              <a:ext uri="{FF2B5EF4-FFF2-40B4-BE49-F238E27FC236}">
                <a16:creationId xmlns:a16="http://schemas.microsoft.com/office/drawing/2014/main" id="{9C2AE974-6668-41BF-9CA5-FBFDB292E2F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79427" y="3578021"/>
            <a:ext cx="2648814" cy="28766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5CF86407-DA27-4CA6-A346-F8477F884E96}"/>
              </a:ext>
            </a:extLst>
          </p:cNvPr>
          <p:cNvSpPr>
            <a:spLocks/>
          </p:cNvSpPr>
          <p:nvPr userDrawn="1"/>
        </p:nvSpPr>
        <p:spPr>
          <a:xfrm>
            <a:off x="-1939923" y="2913099"/>
            <a:ext cx="1772284" cy="1031803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spAutoFit/>
          </a:bodyPr>
          <a:lstStyle/>
          <a:p>
            <a:pPr algn="ctr">
              <a:lnSpc>
                <a:spcPct val="90000"/>
              </a:lnSpc>
            </a:pPr>
            <a:r>
              <a:rPr lang="de-DE" sz="1600" b="0" dirty="0">
                <a:solidFill>
                  <a:schemeClr val="tx1"/>
                </a:solidFill>
              </a:rPr>
              <a:t>Bitte keine Folien mit vollflächigen Farben oder Motiven drucken </a:t>
            </a:r>
          </a:p>
        </p:txBody>
      </p:sp>
    </p:spTree>
    <p:extLst>
      <p:ext uri="{BB962C8B-B14F-4D97-AF65-F5344CB8AC3E}">
        <p14:creationId xmlns:p14="http://schemas.microsoft.com/office/powerpoint/2010/main" val="98943523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70" imgH="371" progId="TCLayout.ActiveDocument.1">
                  <p:embed/>
                </p:oleObj>
              </mc:Choice>
              <mc:Fallback>
                <p:oleObj name="think-cell Folie" r:id="rId3" imgW="370" imgH="371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ED7967F9-E942-4760-BBB0-7377F089841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79427" y="503236"/>
            <a:ext cx="6912000" cy="59515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4" name="Bildplatzhalter 7">
            <a:extLst>
              <a:ext uri="{FF2B5EF4-FFF2-40B4-BE49-F238E27FC236}">
                <a16:creationId xmlns:a16="http://schemas.microsoft.com/office/drawing/2014/main" id="{3874E60C-732A-46D4-A0D2-7308833B35F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587672" y="503236"/>
            <a:ext cx="4124902" cy="28766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9" name="Bildplatzhalter 7">
            <a:extLst>
              <a:ext uri="{FF2B5EF4-FFF2-40B4-BE49-F238E27FC236}">
                <a16:creationId xmlns:a16="http://schemas.microsoft.com/office/drawing/2014/main" id="{77162A5A-203D-4041-B750-6301365329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587672" y="3578025"/>
            <a:ext cx="4124902" cy="28766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5CF86407-DA27-4CA6-A346-F8477F884E96}"/>
              </a:ext>
            </a:extLst>
          </p:cNvPr>
          <p:cNvSpPr>
            <a:spLocks/>
          </p:cNvSpPr>
          <p:nvPr userDrawn="1"/>
        </p:nvSpPr>
        <p:spPr>
          <a:xfrm>
            <a:off x="-1939923" y="2913099"/>
            <a:ext cx="1772284" cy="1031803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spAutoFit/>
          </a:bodyPr>
          <a:lstStyle/>
          <a:p>
            <a:pPr algn="ctr">
              <a:lnSpc>
                <a:spcPct val="90000"/>
              </a:lnSpc>
            </a:pPr>
            <a:r>
              <a:rPr lang="de-DE" sz="1600" b="0" dirty="0">
                <a:solidFill>
                  <a:schemeClr val="tx1"/>
                </a:solidFill>
              </a:rPr>
              <a:t>Bitte keine Folien mit vollflächigen Farben oder Motiven drucken </a:t>
            </a:r>
          </a:p>
        </p:txBody>
      </p:sp>
    </p:spTree>
    <p:extLst>
      <p:ext uri="{BB962C8B-B14F-4D97-AF65-F5344CB8AC3E}">
        <p14:creationId xmlns:p14="http://schemas.microsoft.com/office/powerpoint/2010/main" val="333235967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70" imgH="371" progId="TCLayout.ActiveDocument.1">
                  <p:embed/>
                </p:oleObj>
              </mc:Choice>
              <mc:Fallback>
                <p:oleObj name="think-cell Folie" r:id="rId3" imgW="370" imgH="371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itel 10">
            <a:extLst>
              <a:ext uri="{FF2B5EF4-FFF2-40B4-BE49-F238E27FC236}">
                <a16:creationId xmlns:a16="http://schemas.microsoft.com/office/drawing/2014/main" id="{1D6E84FA-FD4E-4697-91A3-11CC718B6B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6" y="503546"/>
            <a:ext cx="9579925" cy="304699"/>
          </a:xfrm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lang="de-DE" sz="2200" dirty="0"/>
            </a:lvl1pPr>
          </a:lstStyle>
          <a:p>
            <a:pPr lvl="0"/>
            <a:r>
              <a:rPr lang="de-DE" dirty="0"/>
              <a:t>Inhaltsverzeichnis</a:t>
            </a:r>
          </a:p>
        </p:txBody>
      </p:sp>
    </p:spTree>
    <p:extLst>
      <p:ext uri="{BB962C8B-B14F-4D97-AF65-F5344CB8AC3E}">
        <p14:creationId xmlns:p14="http://schemas.microsoft.com/office/powerpoint/2010/main" val="25770319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>
            <a:extLst>
              <a:ext uri="{FF2B5EF4-FFF2-40B4-BE49-F238E27FC236}">
                <a16:creationId xmlns:a16="http://schemas.microsoft.com/office/drawing/2014/main" id="{7284A891-5E1D-4980-82BD-6F9B00786B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08" imgH="408" progId="TCLayout.ActiveDocument.1">
                  <p:embed/>
                </p:oleObj>
              </mc:Choice>
              <mc:Fallback>
                <p:oleObj name="think-cell Folie" r:id="rId4" imgW="408" imgH="408" progId="TCLayout.ActiveDocument.1">
                  <p:embed/>
                  <p:pic>
                    <p:nvPicPr>
                      <p:cNvPr id="15" name="Objekt 14" hidden="1">
                        <a:extLst>
                          <a:ext uri="{FF2B5EF4-FFF2-40B4-BE49-F238E27FC236}">
                            <a16:creationId xmlns:a16="http://schemas.microsoft.com/office/drawing/2014/main" id="{7284A891-5E1D-4980-82BD-6F9B00786B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1A0EBB2D-04DD-4B13-A2B0-37AB008C815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2200" b="1" i="0" baseline="0" dirty="0">
              <a:solidFill>
                <a:schemeClr val="tx1"/>
              </a:solidFill>
              <a:latin typeface="STIHL Contraface Text"/>
              <a:ea typeface="+mj-ea"/>
              <a:cs typeface="+mj-cs"/>
              <a:sym typeface="STIHL Contraface Text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3F08C5B-9A65-4A23-ACF8-CA49D9A50D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6" y="503236"/>
            <a:ext cx="9579925" cy="304699"/>
          </a:xfrm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lang="de-DE" sz="2200" dirty="0"/>
            </a:lvl1pPr>
          </a:lstStyle>
          <a:p>
            <a:pPr lvl="0"/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7" name="Bildplatzhalter 9">
            <a:extLst>
              <a:ext uri="{FF2B5EF4-FFF2-40B4-BE49-F238E27FC236}">
                <a16:creationId xmlns:a16="http://schemas.microsoft.com/office/drawing/2014/main" id="{69EDD33E-CDCE-4ED7-976C-0525AB83931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79427" y="1605435"/>
            <a:ext cx="2700000" cy="24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9" name="Bildplatzhalter 9">
            <a:extLst>
              <a:ext uri="{FF2B5EF4-FFF2-40B4-BE49-F238E27FC236}">
                <a16:creationId xmlns:a16="http://schemas.microsoft.com/office/drawing/2014/main" id="{FFCE445F-61AB-4BA3-AA45-CBE92E01B5BC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323809" y="1605435"/>
            <a:ext cx="2700000" cy="24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C6E1C422-2E48-4AA7-BA8B-DF5876F1994C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68191" y="1605435"/>
            <a:ext cx="2700000" cy="24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3" name="Bildplatzhalter 9">
            <a:extLst>
              <a:ext uri="{FF2B5EF4-FFF2-40B4-BE49-F238E27FC236}">
                <a16:creationId xmlns:a16="http://schemas.microsoft.com/office/drawing/2014/main" id="{CF807233-9F93-4EF7-B70B-AF6B1EFA8A9A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012574" y="1605435"/>
            <a:ext cx="2700000" cy="24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7" name="Textplatzhalter 8">
            <a:extLst>
              <a:ext uri="{FF2B5EF4-FFF2-40B4-BE49-F238E27FC236}">
                <a16:creationId xmlns:a16="http://schemas.microsoft.com/office/drawing/2014/main" id="{F831011C-DA8E-41C7-8CDC-0BCF08BF23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7" y="1130300"/>
            <a:ext cx="11233147" cy="249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>
              <a:lnSpc>
                <a:spcPct val="90000"/>
              </a:lnSpc>
              <a:buNone/>
              <a:defRPr lang="de-DE" sz="1800" cap="none" baseline="0" dirty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114300" lvl="0" indent="-342900">
              <a:spcBef>
                <a:spcPct val="0"/>
              </a:spcBef>
            </a:pPr>
            <a:r>
              <a:rPr lang="de-DE" dirty="0"/>
              <a:t>Subheadli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479427" y="4253329"/>
            <a:ext cx="2700000" cy="2201318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3323809" y="4253329"/>
            <a:ext cx="2700000" cy="2201318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68191" y="4253329"/>
            <a:ext cx="2700000" cy="2201318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9012574" y="4253329"/>
            <a:ext cx="2700000" cy="2201318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09853261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 Botschaft">
    <p:bg>
      <p:bgPr>
        <a:solidFill>
          <a:srgbClr val="F37A1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70" imgH="371" progId="TCLayout.ActiveDocument.1">
                  <p:embed/>
                </p:oleObj>
              </mc:Choice>
              <mc:Fallback>
                <p:oleObj name="think-cell Folie" r:id="rId4" imgW="370" imgH="37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4400" b="1" i="0" baseline="0" dirty="0">
              <a:solidFill>
                <a:schemeClr val="tx1"/>
              </a:solidFill>
              <a:latin typeface="STIHL Contraface Display Title" panose="02000600040000020004" pitchFamily="50" charset="0"/>
              <a:ea typeface="+mj-ea"/>
              <a:cs typeface="+mj-cs"/>
              <a:sym typeface="STIHL Contraface Display Title" panose="02000600040000020004" pitchFamily="50" charset="0"/>
            </a:endParaRP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68237" y="1186684"/>
            <a:ext cx="450670" cy="609398"/>
          </a:xfrm>
        </p:spPr>
        <p:txBody>
          <a:bodyPr wrap="square">
            <a:noAutofit/>
          </a:bodyPr>
          <a:lstStyle>
            <a:lvl1pPr>
              <a:tabLst>
                <a:tab pos="449263" algn="l"/>
              </a:tabLst>
              <a:defRPr sz="4400">
                <a:solidFill>
                  <a:schemeClr val="bg1"/>
                </a:solidFill>
                <a:latin typeface="STIHL Contraface Display Title" pitchFamily="50" charset="0"/>
              </a:defRPr>
            </a:lvl1pPr>
          </a:lstStyle>
          <a:p>
            <a:pPr lvl="0"/>
            <a:r>
              <a:rPr lang="de-DE" dirty="0"/>
              <a:t>»	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1018907" y="3806696"/>
            <a:ext cx="10695255" cy="249299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282F2CC6-4FF4-4A58-802A-E33AC37E42F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18907" y="1186684"/>
            <a:ext cx="10695256" cy="609398"/>
          </a:xfrm>
        </p:spPr>
        <p:txBody>
          <a:bodyPr wrap="square">
            <a:spAutoFit/>
          </a:bodyPr>
          <a:lstStyle>
            <a:lvl1pPr>
              <a:tabLst>
                <a:tab pos="449263" algn="l"/>
              </a:tabLst>
              <a:defRPr sz="4400">
                <a:solidFill>
                  <a:schemeClr val="bg1"/>
                </a:solidFill>
                <a:latin typeface="STIHL Contraface Display Title" pitchFamily="50" charset="0"/>
              </a:defRPr>
            </a:lvl1pPr>
          </a:lstStyle>
          <a:p>
            <a:pPr lvl="0"/>
            <a:r>
              <a:rPr lang="de-DE" dirty="0"/>
              <a:t>Zitat «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5CF86407-DA27-4CA6-A346-F8477F884E96}"/>
              </a:ext>
            </a:extLst>
          </p:cNvPr>
          <p:cNvSpPr>
            <a:spLocks/>
          </p:cNvSpPr>
          <p:nvPr userDrawn="1"/>
        </p:nvSpPr>
        <p:spPr>
          <a:xfrm>
            <a:off x="-1943099" y="3144747"/>
            <a:ext cx="1772284" cy="1031803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de-DE" sz="1600" b="0" dirty="0">
                <a:solidFill>
                  <a:schemeClr val="tx1"/>
                </a:solidFill>
              </a:rPr>
              <a:t>Bitte keine Folien mit vollflächigen Farben oder Motiven drucken 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5CF86407-DA27-4CA6-A346-F8477F884E96}"/>
              </a:ext>
            </a:extLst>
          </p:cNvPr>
          <p:cNvSpPr>
            <a:spLocks/>
          </p:cNvSpPr>
          <p:nvPr userDrawn="1"/>
        </p:nvSpPr>
        <p:spPr>
          <a:xfrm>
            <a:off x="-1943099" y="0"/>
            <a:ext cx="1772284" cy="299313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b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r>
              <a:rPr lang="de-DE" sz="1600" dirty="0" err="1">
                <a:solidFill>
                  <a:schemeClr val="tx1"/>
                </a:solidFill>
                <a:latin typeface="STIHL Contraface Display Title" pitchFamily="50" charset="0"/>
              </a:rPr>
              <a:t>Guillemets</a:t>
            </a:r>
            <a:r>
              <a:rPr lang="de-DE" sz="1600" dirty="0">
                <a:solidFill>
                  <a:schemeClr val="tx1"/>
                </a:solidFill>
                <a:latin typeface="STIHL Contraface Display Title" pitchFamily="50" charset="0"/>
              </a:rPr>
              <a:t> </a:t>
            </a:r>
          </a:p>
          <a:p>
            <a:pPr>
              <a:lnSpc>
                <a:spcPct val="90000"/>
              </a:lnSpc>
            </a:pPr>
            <a:endParaRPr lang="de-DE" sz="1600" dirty="0">
              <a:solidFill>
                <a:schemeClr val="tx1"/>
              </a:solidFill>
              <a:latin typeface="STIHL Contraface Display Title" pitchFamily="50" charset="0"/>
            </a:endParaRPr>
          </a:p>
          <a:p>
            <a:pPr>
              <a:lnSpc>
                <a:spcPct val="90000"/>
              </a:lnSpc>
            </a:pPr>
            <a:r>
              <a:rPr lang="de-DE" sz="1600" b="1" dirty="0">
                <a:solidFill>
                  <a:schemeClr val="tx1"/>
                </a:solidFill>
              </a:rPr>
              <a:t>PC (Nummernblock):</a:t>
            </a:r>
          </a:p>
          <a:p>
            <a: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600" dirty="0">
                <a:solidFill>
                  <a:schemeClr val="tx1"/>
                </a:solidFill>
                <a:latin typeface="STIHL Contraface Display Title" pitchFamily="50" charset="0"/>
              </a:rPr>
              <a:t>» </a:t>
            </a:r>
            <a:r>
              <a:rPr lang="de-DE" sz="1600" dirty="0">
                <a:solidFill>
                  <a:schemeClr val="tx1"/>
                </a:solidFill>
              </a:rPr>
              <a:t>Alt + 175</a:t>
            </a:r>
          </a:p>
          <a:p>
            <a:pPr>
              <a:lnSpc>
                <a:spcPct val="90000"/>
              </a:lnSpc>
            </a:pPr>
            <a:r>
              <a:rPr lang="de-DE" sz="1600" dirty="0">
                <a:solidFill>
                  <a:schemeClr val="tx1"/>
                </a:solidFill>
                <a:latin typeface="STIHL Contraface Display Title" pitchFamily="50" charset="0"/>
              </a:rPr>
              <a:t>« </a:t>
            </a:r>
            <a:r>
              <a:rPr lang="de-DE" sz="1600" dirty="0">
                <a:solidFill>
                  <a:schemeClr val="tx1"/>
                </a:solidFill>
              </a:rPr>
              <a:t>Alt +</a:t>
            </a:r>
            <a:r>
              <a:rPr lang="de-DE" sz="1600" baseline="0" dirty="0">
                <a:solidFill>
                  <a:schemeClr val="tx1"/>
                </a:solidFill>
              </a:rPr>
              <a:t> </a:t>
            </a:r>
            <a:r>
              <a:rPr lang="de-DE" sz="1600" dirty="0">
                <a:solidFill>
                  <a:schemeClr val="tx1"/>
                </a:solidFill>
              </a:rPr>
              <a:t>174</a:t>
            </a:r>
          </a:p>
          <a:p>
            <a:pPr>
              <a:lnSpc>
                <a:spcPct val="90000"/>
              </a:lnSpc>
            </a:pPr>
            <a:endParaRPr lang="de-DE" sz="1600" dirty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</a:pPr>
            <a:r>
              <a:rPr lang="de-DE" sz="1600" b="1" dirty="0">
                <a:solidFill>
                  <a:schemeClr val="tx1"/>
                </a:solidFill>
              </a:rPr>
              <a:t>Mac:</a:t>
            </a:r>
          </a:p>
          <a:p>
            <a:pPr>
              <a:lnSpc>
                <a:spcPct val="90000"/>
              </a:lnSpc>
            </a:pPr>
            <a:r>
              <a:rPr lang="de-DE" sz="1600" dirty="0">
                <a:solidFill>
                  <a:schemeClr val="tx1"/>
                </a:solidFill>
                <a:latin typeface="STIHL Contraface Display Title" pitchFamily="50" charset="0"/>
              </a:rPr>
              <a:t>» </a:t>
            </a:r>
            <a:r>
              <a:rPr lang="de-DE" sz="1600" dirty="0">
                <a:solidFill>
                  <a:schemeClr val="tx1"/>
                </a:solidFill>
              </a:rPr>
              <a:t>Alt + Q</a:t>
            </a:r>
          </a:p>
          <a:p>
            <a: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600" dirty="0">
                <a:solidFill>
                  <a:schemeClr val="tx1"/>
                </a:solidFill>
                <a:latin typeface="STIHL Contraface Display Title" pitchFamily="50" charset="0"/>
              </a:rPr>
              <a:t>« </a:t>
            </a:r>
            <a:r>
              <a:rPr lang="de-DE" sz="1600" dirty="0">
                <a:solidFill>
                  <a:schemeClr val="tx1"/>
                </a:solidFill>
              </a:rPr>
              <a:t>Alt + </a:t>
            </a:r>
            <a:r>
              <a:rPr lang="de-DE" sz="1600" dirty="0" err="1">
                <a:solidFill>
                  <a:schemeClr val="tx1"/>
                </a:solidFill>
              </a:rPr>
              <a:t>Shift</a:t>
            </a:r>
            <a:r>
              <a:rPr lang="de-DE" sz="1600" dirty="0">
                <a:solidFill>
                  <a:schemeClr val="tx1"/>
                </a:solidFill>
              </a:rPr>
              <a:t> + Q</a:t>
            </a:r>
          </a:p>
        </p:txBody>
      </p:sp>
      <p:sp>
        <p:nvSpPr>
          <p:cNvPr id="18" name="Textfeld 17"/>
          <p:cNvSpPr txBox="1"/>
          <p:nvPr userDrawn="1"/>
        </p:nvSpPr>
        <p:spPr>
          <a:xfrm>
            <a:off x="-1565910" y="1"/>
            <a:ext cx="1017907" cy="8390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</a:pPr>
            <a:r>
              <a:rPr lang="de-DE" sz="6000" dirty="0">
                <a:latin typeface="STIHL Contraface Display Title" pitchFamily="50" charset="0"/>
              </a:rPr>
              <a:t>» «</a:t>
            </a:r>
          </a:p>
        </p:txBody>
      </p:sp>
    </p:spTree>
    <p:extLst>
      <p:ext uri="{BB962C8B-B14F-4D97-AF65-F5344CB8AC3E}">
        <p14:creationId xmlns:p14="http://schemas.microsoft.com/office/powerpoint/2010/main" val="29988648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nge Titelfolie Hintergrund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70" imgH="371" progId="TCLayout.ActiveDocument.1">
                  <p:embed/>
                </p:oleObj>
              </mc:Choice>
              <mc:Fallback>
                <p:oleObj name="think-cell Folie" r:id="rId4" imgW="370" imgH="37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200" b="1" i="0" baseline="0" dirty="0">
              <a:solidFill>
                <a:schemeClr val="tx1"/>
              </a:solidFill>
              <a:latin typeface="STIHL Contraface Display Title"/>
              <a:ea typeface="+mn-ea"/>
              <a:cs typeface="+mn-cs"/>
              <a:sym typeface="STIHL Contraface Display Title"/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6061" y="258750"/>
            <a:ext cx="1774212" cy="775631"/>
          </a:xfrm>
          <a:prstGeom prst="rect">
            <a:avLst/>
          </a:prstGeom>
        </p:spPr>
      </p:pic>
      <p:sp>
        <p:nvSpPr>
          <p:cNvPr id="17" name="Hintergrundbild">
            <a:extLst>
              <a:ext uri="{FF2B5EF4-FFF2-40B4-BE49-F238E27FC236}">
                <a16:creationId xmlns:a16="http://schemas.microsoft.com/office/drawing/2014/main" id="{91303CF3-1A7E-4149-A9A1-BC9B75037D6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361950 w 12192000"/>
              <a:gd name="connsiteY0" fmla="*/ 344402 h 6858000"/>
              <a:gd name="connsiteX1" fmla="*/ 361950 w 12192000"/>
              <a:gd name="connsiteY1" fmla="*/ 6536402 h 6858000"/>
              <a:gd name="connsiteX2" fmla="*/ 5401950 w 12192000"/>
              <a:gd name="connsiteY2" fmla="*/ 6536402 h 6858000"/>
              <a:gd name="connsiteX3" fmla="*/ 5401950 w 12192000"/>
              <a:gd name="connsiteY3" fmla="*/ 344402 h 6858000"/>
              <a:gd name="connsiteX4" fmla="*/ 10129345 w 12192000"/>
              <a:gd name="connsiteY4" fmla="*/ 344401 h 6858000"/>
              <a:gd name="connsiteX5" fmla="*/ 10129345 w 12192000"/>
              <a:gd name="connsiteY5" fmla="*/ 1099696 h 6858000"/>
              <a:gd name="connsiteX6" fmla="*/ 11857039 w 12192000"/>
              <a:gd name="connsiteY6" fmla="*/ 1099696 h 6858000"/>
              <a:gd name="connsiteX7" fmla="*/ 11857039 w 12192000"/>
              <a:gd name="connsiteY7" fmla="*/ 344401 h 6858000"/>
              <a:gd name="connsiteX8" fmla="*/ 0 w 12192000"/>
              <a:gd name="connsiteY8" fmla="*/ 0 h 6858000"/>
              <a:gd name="connsiteX9" fmla="*/ 12192000 w 12192000"/>
              <a:gd name="connsiteY9" fmla="*/ 0 h 6858000"/>
              <a:gd name="connsiteX10" fmla="*/ 12192000 w 12192000"/>
              <a:gd name="connsiteY10" fmla="*/ 6858000 h 6858000"/>
              <a:gd name="connsiteX11" fmla="*/ 0 w 12192000"/>
              <a:gd name="connsiteY11" fmla="*/ 6858000 h 6858000"/>
              <a:gd name="connsiteX0" fmla="*/ 361950 w 12192000"/>
              <a:gd name="connsiteY0" fmla="*/ 344402 h 6858000"/>
              <a:gd name="connsiteX1" fmla="*/ 361950 w 12192000"/>
              <a:gd name="connsiteY1" fmla="*/ 6536402 h 6858000"/>
              <a:gd name="connsiteX2" fmla="*/ 5401950 w 12192000"/>
              <a:gd name="connsiteY2" fmla="*/ 6536402 h 6858000"/>
              <a:gd name="connsiteX3" fmla="*/ 5401950 w 12192000"/>
              <a:gd name="connsiteY3" fmla="*/ 344402 h 6858000"/>
              <a:gd name="connsiteX4" fmla="*/ 361950 w 12192000"/>
              <a:gd name="connsiteY4" fmla="*/ 344402 h 6858000"/>
              <a:gd name="connsiteX5" fmla="*/ 10136965 w 12192000"/>
              <a:gd name="connsiteY5" fmla="*/ 258676 h 6858000"/>
              <a:gd name="connsiteX6" fmla="*/ 10129345 w 12192000"/>
              <a:gd name="connsiteY6" fmla="*/ 1099696 h 6858000"/>
              <a:gd name="connsiteX7" fmla="*/ 11857039 w 12192000"/>
              <a:gd name="connsiteY7" fmla="*/ 1099696 h 6858000"/>
              <a:gd name="connsiteX8" fmla="*/ 11857039 w 12192000"/>
              <a:gd name="connsiteY8" fmla="*/ 344401 h 6858000"/>
              <a:gd name="connsiteX9" fmla="*/ 10136965 w 12192000"/>
              <a:gd name="connsiteY9" fmla="*/ 25867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344402 h 6858000"/>
              <a:gd name="connsiteX1" fmla="*/ 361950 w 12192000"/>
              <a:gd name="connsiteY1" fmla="*/ 6536402 h 6858000"/>
              <a:gd name="connsiteX2" fmla="*/ 5401950 w 12192000"/>
              <a:gd name="connsiteY2" fmla="*/ 6536402 h 6858000"/>
              <a:gd name="connsiteX3" fmla="*/ 5401950 w 12192000"/>
              <a:gd name="connsiteY3" fmla="*/ 344402 h 6858000"/>
              <a:gd name="connsiteX4" fmla="*/ 361950 w 12192000"/>
              <a:gd name="connsiteY4" fmla="*/ 344402 h 6858000"/>
              <a:gd name="connsiteX5" fmla="*/ 10136965 w 12192000"/>
              <a:gd name="connsiteY5" fmla="*/ 258676 h 6858000"/>
              <a:gd name="connsiteX6" fmla="*/ 10129345 w 12192000"/>
              <a:gd name="connsiteY6" fmla="*/ 1099696 h 6858000"/>
              <a:gd name="connsiteX7" fmla="*/ 11857039 w 12192000"/>
              <a:gd name="connsiteY7" fmla="*/ 1099696 h 6858000"/>
              <a:gd name="connsiteX8" fmla="*/ 11910379 w 12192000"/>
              <a:gd name="connsiteY8" fmla="*/ 260581 h 6858000"/>
              <a:gd name="connsiteX9" fmla="*/ 10136965 w 12192000"/>
              <a:gd name="connsiteY9" fmla="*/ 25867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344402 h 6858000"/>
              <a:gd name="connsiteX1" fmla="*/ 361950 w 12192000"/>
              <a:gd name="connsiteY1" fmla="*/ 6536402 h 6858000"/>
              <a:gd name="connsiteX2" fmla="*/ 5401950 w 12192000"/>
              <a:gd name="connsiteY2" fmla="*/ 6536402 h 6858000"/>
              <a:gd name="connsiteX3" fmla="*/ 5401950 w 12192000"/>
              <a:gd name="connsiteY3" fmla="*/ 344402 h 6858000"/>
              <a:gd name="connsiteX4" fmla="*/ 361950 w 12192000"/>
              <a:gd name="connsiteY4" fmla="*/ 344402 h 6858000"/>
              <a:gd name="connsiteX5" fmla="*/ 10136965 w 12192000"/>
              <a:gd name="connsiteY5" fmla="*/ 258676 h 6858000"/>
              <a:gd name="connsiteX6" fmla="*/ 10129345 w 12192000"/>
              <a:gd name="connsiteY6" fmla="*/ 1099696 h 6858000"/>
              <a:gd name="connsiteX7" fmla="*/ 11910379 w 12192000"/>
              <a:gd name="connsiteY7" fmla="*/ 1029211 h 6858000"/>
              <a:gd name="connsiteX8" fmla="*/ 11910379 w 12192000"/>
              <a:gd name="connsiteY8" fmla="*/ 260581 h 6858000"/>
              <a:gd name="connsiteX9" fmla="*/ 10136965 w 12192000"/>
              <a:gd name="connsiteY9" fmla="*/ 25867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344402 h 6858000"/>
              <a:gd name="connsiteX1" fmla="*/ 361950 w 12192000"/>
              <a:gd name="connsiteY1" fmla="*/ 6536402 h 6858000"/>
              <a:gd name="connsiteX2" fmla="*/ 5401950 w 12192000"/>
              <a:gd name="connsiteY2" fmla="*/ 6536402 h 6858000"/>
              <a:gd name="connsiteX3" fmla="*/ 5401950 w 12192000"/>
              <a:gd name="connsiteY3" fmla="*/ 344402 h 6858000"/>
              <a:gd name="connsiteX4" fmla="*/ 361950 w 12192000"/>
              <a:gd name="connsiteY4" fmla="*/ 344402 h 6858000"/>
              <a:gd name="connsiteX5" fmla="*/ 10136965 w 12192000"/>
              <a:gd name="connsiteY5" fmla="*/ 258676 h 6858000"/>
              <a:gd name="connsiteX6" fmla="*/ 10138870 w 12192000"/>
              <a:gd name="connsiteY6" fmla="*/ 1034926 h 6858000"/>
              <a:gd name="connsiteX7" fmla="*/ 11910379 w 12192000"/>
              <a:gd name="connsiteY7" fmla="*/ 1029211 h 6858000"/>
              <a:gd name="connsiteX8" fmla="*/ 11910379 w 12192000"/>
              <a:gd name="connsiteY8" fmla="*/ 260581 h 6858000"/>
              <a:gd name="connsiteX9" fmla="*/ 10136965 w 12192000"/>
              <a:gd name="connsiteY9" fmla="*/ 25867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344402 h 6858000"/>
              <a:gd name="connsiteX1" fmla="*/ 361950 w 12192000"/>
              <a:gd name="connsiteY1" fmla="*/ 6536402 h 6858000"/>
              <a:gd name="connsiteX2" fmla="*/ 5401950 w 12192000"/>
              <a:gd name="connsiteY2" fmla="*/ 6536402 h 6858000"/>
              <a:gd name="connsiteX3" fmla="*/ 5401950 w 12192000"/>
              <a:gd name="connsiteY3" fmla="*/ 344402 h 6858000"/>
              <a:gd name="connsiteX4" fmla="*/ 361950 w 12192000"/>
              <a:gd name="connsiteY4" fmla="*/ 344402 h 6858000"/>
              <a:gd name="connsiteX5" fmla="*/ 10136965 w 12192000"/>
              <a:gd name="connsiteY5" fmla="*/ 258676 h 6858000"/>
              <a:gd name="connsiteX6" fmla="*/ 10138870 w 12192000"/>
              <a:gd name="connsiteY6" fmla="*/ 1034926 h 6858000"/>
              <a:gd name="connsiteX7" fmla="*/ 11910379 w 12192000"/>
              <a:gd name="connsiteY7" fmla="*/ 1029211 h 6858000"/>
              <a:gd name="connsiteX8" fmla="*/ 11902759 w 12192000"/>
              <a:gd name="connsiteY8" fmla="*/ 268201 h 6858000"/>
              <a:gd name="connsiteX9" fmla="*/ 10136965 w 12192000"/>
              <a:gd name="connsiteY9" fmla="*/ 25867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344402 h 6858000"/>
              <a:gd name="connsiteX1" fmla="*/ 361950 w 12192000"/>
              <a:gd name="connsiteY1" fmla="*/ 6536402 h 6858000"/>
              <a:gd name="connsiteX2" fmla="*/ 5401950 w 12192000"/>
              <a:gd name="connsiteY2" fmla="*/ 6536402 h 6858000"/>
              <a:gd name="connsiteX3" fmla="*/ 5401950 w 12192000"/>
              <a:gd name="connsiteY3" fmla="*/ 344402 h 6858000"/>
              <a:gd name="connsiteX4" fmla="*/ 361950 w 12192000"/>
              <a:gd name="connsiteY4" fmla="*/ 344402 h 6858000"/>
              <a:gd name="connsiteX5" fmla="*/ 10136965 w 12192000"/>
              <a:gd name="connsiteY5" fmla="*/ 258676 h 6858000"/>
              <a:gd name="connsiteX6" fmla="*/ 10138870 w 12192000"/>
              <a:gd name="connsiteY6" fmla="*/ 1034926 h 6858000"/>
              <a:gd name="connsiteX7" fmla="*/ 11923714 w 12192000"/>
              <a:gd name="connsiteY7" fmla="*/ 1048261 h 6858000"/>
              <a:gd name="connsiteX8" fmla="*/ 11902759 w 12192000"/>
              <a:gd name="connsiteY8" fmla="*/ 268201 h 6858000"/>
              <a:gd name="connsiteX9" fmla="*/ 10136965 w 12192000"/>
              <a:gd name="connsiteY9" fmla="*/ 25867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344402 h 6858000"/>
              <a:gd name="connsiteX1" fmla="*/ 361950 w 12192000"/>
              <a:gd name="connsiteY1" fmla="*/ 6536402 h 6858000"/>
              <a:gd name="connsiteX2" fmla="*/ 5401950 w 12192000"/>
              <a:gd name="connsiteY2" fmla="*/ 6536402 h 6858000"/>
              <a:gd name="connsiteX3" fmla="*/ 5401950 w 12192000"/>
              <a:gd name="connsiteY3" fmla="*/ 344402 h 6858000"/>
              <a:gd name="connsiteX4" fmla="*/ 361950 w 12192000"/>
              <a:gd name="connsiteY4" fmla="*/ 344402 h 6858000"/>
              <a:gd name="connsiteX5" fmla="*/ 10136965 w 12192000"/>
              <a:gd name="connsiteY5" fmla="*/ 258676 h 6858000"/>
              <a:gd name="connsiteX6" fmla="*/ 10138870 w 12192000"/>
              <a:gd name="connsiteY6" fmla="*/ 1034926 h 6858000"/>
              <a:gd name="connsiteX7" fmla="*/ 11904664 w 12192000"/>
              <a:gd name="connsiteY7" fmla="*/ 1029211 h 6858000"/>
              <a:gd name="connsiteX8" fmla="*/ 11902759 w 12192000"/>
              <a:gd name="connsiteY8" fmla="*/ 268201 h 6858000"/>
              <a:gd name="connsiteX9" fmla="*/ 10136965 w 12192000"/>
              <a:gd name="connsiteY9" fmla="*/ 25867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344402 h 6858000"/>
              <a:gd name="connsiteX1" fmla="*/ 361950 w 12192000"/>
              <a:gd name="connsiteY1" fmla="*/ 6536402 h 6858000"/>
              <a:gd name="connsiteX2" fmla="*/ 5401950 w 12192000"/>
              <a:gd name="connsiteY2" fmla="*/ 6536402 h 6858000"/>
              <a:gd name="connsiteX3" fmla="*/ 5401950 w 12192000"/>
              <a:gd name="connsiteY3" fmla="*/ 344402 h 6858000"/>
              <a:gd name="connsiteX4" fmla="*/ 361950 w 12192000"/>
              <a:gd name="connsiteY4" fmla="*/ 344402 h 6858000"/>
              <a:gd name="connsiteX5" fmla="*/ 10136965 w 12192000"/>
              <a:gd name="connsiteY5" fmla="*/ 258676 h 6858000"/>
              <a:gd name="connsiteX6" fmla="*/ 10142680 w 12192000"/>
              <a:gd name="connsiteY6" fmla="*/ 1025401 h 6858000"/>
              <a:gd name="connsiteX7" fmla="*/ 11904664 w 12192000"/>
              <a:gd name="connsiteY7" fmla="*/ 1029211 h 6858000"/>
              <a:gd name="connsiteX8" fmla="*/ 11902759 w 12192000"/>
              <a:gd name="connsiteY8" fmla="*/ 268201 h 6858000"/>
              <a:gd name="connsiteX9" fmla="*/ 10136965 w 12192000"/>
              <a:gd name="connsiteY9" fmla="*/ 25867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344402 h 6858000"/>
              <a:gd name="connsiteX1" fmla="*/ 361950 w 12192000"/>
              <a:gd name="connsiteY1" fmla="*/ 6536402 h 6858000"/>
              <a:gd name="connsiteX2" fmla="*/ 5401950 w 12192000"/>
              <a:gd name="connsiteY2" fmla="*/ 6536402 h 6858000"/>
              <a:gd name="connsiteX3" fmla="*/ 5401950 w 12192000"/>
              <a:gd name="connsiteY3" fmla="*/ 344402 h 6858000"/>
              <a:gd name="connsiteX4" fmla="*/ 361950 w 12192000"/>
              <a:gd name="connsiteY4" fmla="*/ 344402 h 6858000"/>
              <a:gd name="connsiteX5" fmla="*/ 10146490 w 12192000"/>
              <a:gd name="connsiteY5" fmla="*/ 268201 h 6858000"/>
              <a:gd name="connsiteX6" fmla="*/ 10142680 w 12192000"/>
              <a:gd name="connsiteY6" fmla="*/ 1025401 h 6858000"/>
              <a:gd name="connsiteX7" fmla="*/ 11904664 w 12192000"/>
              <a:gd name="connsiteY7" fmla="*/ 1029211 h 6858000"/>
              <a:gd name="connsiteX8" fmla="*/ 11902759 w 12192000"/>
              <a:gd name="connsiteY8" fmla="*/ 268201 h 6858000"/>
              <a:gd name="connsiteX9" fmla="*/ 10146490 w 12192000"/>
              <a:gd name="connsiteY9" fmla="*/ 26820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344402 h 6858000"/>
              <a:gd name="connsiteX1" fmla="*/ 361950 w 12192000"/>
              <a:gd name="connsiteY1" fmla="*/ 6536402 h 6858000"/>
              <a:gd name="connsiteX2" fmla="*/ 5401950 w 12192000"/>
              <a:gd name="connsiteY2" fmla="*/ 6536402 h 6858000"/>
              <a:gd name="connsiteX3" fmla="*/ 5401950 w 12192000"/>
              <a:gd name="connsiteY3" fmla="*/ 344402 h 6858000"/>
              <a:gd name="connsiteX4" fmla="*/ 361950 w 12192000"/>
              <a:gd name="connsiteY4" fmla="*/ 344402 h 6858000"/>
              <a:gd name="connsiteX5" fmla="*/ 10295080 w 12192000"/>
              <a:gd name="connsiteY5" fmla="*/ 361546 h 6858000"/>
              <a:gd name="connsiteX6" fmla="*/ 10142680 w 12192000"/>
              <a:gd name="connsiteY6" fmla="*/ 1025401 h 6858000"/>
              <a:gd name="connsiteX7" fmla="*/ 11904664 w 12192000"/>
              <a:gd name="connsiteY7" fmla="*/ 1029211 h 6858000"/>
              <a:gd name="connsiteX8" fmla="*/ 11902759 w 12192000"/>
              <a:gd name="connsiteY8" fmla="*/ 268201 h 6858000"/>
              <a:gd name="connsiteX9" fmla="*/ 10295080 w 12192000"/>
              <a:gd name="connsiteY9" fmla="*/ 36154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344402 h 6858000"/>
              <a:gd name="connsiteX1" fmla="*/ 361950 w 12192000"/>
              <a:gd name="connsiteY1" fmla="*/ 6536402 h 6858000"/>
              <a:gd name="connsiteX2" fmla="*/ 5401950 w 12192000"/>
              <a:gd name="connsiteY2" fmla="*/ 6536402 h 6858000"/>
              <a:gd name="connsiteX3" fmla="*/ 5401950 w 12192000"/>
              <a:gd name="connsiteY3" fmla="*/ 344402 h 6858000"/>
              <a:gd name="connsiteX4" fmla="*/ 361950 w 12192000"/>
              <a:gd name="connsiteY4" fmla="*/ 344402 h 6858000"/>
              <a:gd name="connsiteX5" fmla="*/ 10144585 w 12192000"/>
              <a:gd name="connsiteY5" fmla="*/ 266296 h 6858000"/>
              <a:gd name="connsiteX6" fmla="*/ 10142680 w 12192000"/>
              <a:gd name="connsiteY6" fmla="*/ 1025401 h 6858000"/>
              <a:gd name="connsiteX7" fmla="*/ 11904664 w 12192000"/>
              <a:gd name="connsiteY7" fmla="*/ 1029211 h 6858000"/>
              <a:gd name="connsiteX8" fmla="*/ 11902759 w 12192000"/>
              <a:gd name="connsiteY8" fmla="*/ 268201 h 6858000"/>
              <a:gd name="connsiteX9" fmla="*/ 10144585 w 12192000"/>
              <a:gd name="connsiteY9" fmla="*/ 26629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344402 h 6858000"/>
              <a:gd name="connsiteX1" fmla="*/ 361950 w 12192000"/>
              <a:gd name="connsiteY1" fmla="*/ 6536402 h 6858000"/>
              <a:gd name="connsiteX2" fmla="*/ 5401950 w 12192000"/>
              <a:gd name="connsiteY2" fmla="*/ 6536402 h 6858000"/>
              <a:gd name="connsiteX3" fmla="*/ 5401950 w 12192000"/>
              <a:gd name="connsiteY3" fmla="*/ 344402 h 6858000"/>
              <a:gd name="connsiteX4" fmla="*/ 361950 w 12192000"/>
              <a:gd name="connsiteY4" fmla="*/ 344402 h 6858000"/>
              <a:gd name="connsiteX5" fmla="*/ 10144585 w 12192000"/>
              <a:gd name="connsiteY5" fmla="*/ 266296 h 6858000"/>
              <a:gd name="connsiteX6" fmla="*/ 10142680 w 12192000"/>
              <a:gd name="connsiteY6" fmla="*/ 1025401 h 6858000"/>
              <a:gd name="connsiteX7" fmla="*/ 11830369 w 12192000"/>
              <a:gd name="connsiteY7" fmla="*/ 964441 h 6858000"/>
              <a:gd name="connsiteX8" fmla="*/ 11902759 w 12192000"/>
              <a:gd name="connsiteY8" fmla="*/ 268201 h 6858000"/>
              <a:gd name="connsiteX9" fmla="*/ 10144585 w 12192000"/>
              <a:gd name="connsiteY9" fmla="*/ 26629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344402 h 6858000"/>
              <a:gd name="connsiteX1" fmla="*/ 361950 w 12192000"/>
              <a:gd name="connsiteY1" fmla="*/ 6536402 h 6858000"/>
              <a:gd name="connsiteX2" fmla="*/ 5401950 w 12192000"/>
              <a:gd name="connsiteY2" fmla="*/ 6536402 h 6858000"/>
              <a:gd name="connsiteX3" fmla="*/ 5401950 w 12192000"/>
              <a:gd name="connsiteY3" fmla="*/ 344402 h 6858000"/>
              <a:gd name="connsiteX4" fmla="*/ 361950 w 12192000"/>
              <a:gd name="connsiteY4" fmla="*/ 344402 h 6858000"/>
              <a:gd name="connsiteX5" fmla="*/ 10144585 w 12192000"/>
              <a:gd name="connsiteY5" fmla="*/ 266296 h 6858000"/>
              <a:gd name="connsiteX6" fmla="*/ 10142680 w 12192000"/>
              <a:gd name="connsiteY6" fmla="*/ 1025401 h 6858000"/>
              <a:gd name="connsiteX7" fmla="*/ 11904664 w 12192000"/>
              <a:gd name="connsiteY7" fmla="*/ 1025401 h 6858000"/>
              <a:gd name="connsiteX8" fmla="*/ 11902759 w 12192000"/>
              <a:gd name="connsiteY8" fmla="*/ 268201 h 6858000"/>
              <a:gd name="connsiteX9" fmla="*/ 10144585 w 12192000"/>
              <a:gd name="connsiteY9" fmla="*/ 26629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344402 h 6858000"/>
              <a:gd name="connsiteX1" fmla="*/ 361950 w 12192000"/>
              <a:gd name="connsiteY1" fmla="*/ 6536402 h 6858000"/>
              <a:gd name="connsiteX2" fmla="*/ 5401950 w 12192000"/>
              <a:gd name="connsiteY2" fmla="*/ 6536402 h 6858000"/>
              <a:gd name="connsiteX3" fmla="*/ 5401950 w 12192000"/>
              <a:gd name="connsiteY3" fmla="*/ 344402 h 6858000"/>
              <a:gd name="connsiteX4" fmla="*/ 361950 w 12192000"/>
              <a:gd name="connsiteY4" fmla="*/ 344402 h 6858000"/>
              <a:gd name="connsiteX5" fmla="*/ 10144585 w 12192000"/>
              <a:gd name="connsiteY5" fmla="*/ 266296 h 6858000"/>
              <a:gd name="connsiteX6" fmla="*/ 10142680 w 12192000"/>
              <a:gd name="connsiteY6" fmla="*/ 1025401 h 6858000"/>
              <a:gd name="connsiteX7" fmla="*/ 11904664 w 12192000"/>
              <a:gd name="connsiteY7" fmla="*/ 1025401 h 6858000"/>
              <a:gd name="connsiteX8" fmla="*/ 11757979 w 12192000"/>
              <a:gd name="connsiteY8" fmla="*/ 397741 h 6858000"/>
              <a:gd name="connsiteX9" fmla="*/ 10144585 w 12192000"/>
              <a:gd name="connsiteY9" fmla="*/ 26629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344402 h 6858000"/>
              <a:gd name="connsiteX1" fmla="*/ 361950 w 12192000"/>
              <a:gd name="connsiteY1" fmla="*/ 6536402 h 6858000"/>
              <a:gd name="connsiteX2" fmla="*/ 5401950 w 12192000"/>
              <a:gd name="connsiteY2" fmla="*/ 6536402 h 6858000"/>
              <a:gd name="connsiteX3" fmla="*/ 5401950 w 12192000"/>
              <a:gd name="connsiteY3" fmla="*/ 344402 h 6858000"/>
              <a:gd name="connsiteX4" fmla="*/ 361950 w 12192000"/>
              <a:gd name="connsiteY4" fmla="*/ 344402 h 6858000"/>
              <a:gd name="connsiteX5" fmla="*/ 10144585 w 12192000"/>
              <a:gd name="connsiteY5" fmla="*/ 266296 h 6858000"/>
              <a:gd name="connsiteX6" fmla="*/ 10142680 w 12192000"/>
              <a:gd name="connsiteY6" fmla="*/ 1025401 h 6858000"/>
              <a:gd name="connsiteX7" fmla="*/ 11904664 w 12192000"/>
              <a:gd name="connsiteY7" fmla="*/ 1025401 h 6858000"/>
              <a:gd name="connsiteX8" fmla="*/ 11904664 w 12192000"/>
              <a:gd name="connsiteY8" fmla="*/ 268201 h 6858000"/>
              <a:gd name="connsiteX9" fmla="*/ 10144585 w 12192000"/>
              <a:gd name="connsiteY9" fmla="*/ 26629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344402 h 6858000"/>
              <a:gd name="connsiteX1" fmla="*/ 361950 w 12192000"/>
              <a:gd name="connsiteY1" fmla="*/ 6536402 h 6858000"/>
              <a:gd name="connsiteX2" fmla="*/ 5401950 w 12192000"/>
              <a:gd name="connsiteY2" fmla="*/ 6536402 h 6858000"/>
              <a:gd name="connsiteX3" fmla="*/ 5401950 w 12192000"/>
              <a:gd name="connsiteY3" fmla="*/ 344402 h 6858000"/>
              <a:gd name="connsiteX4" fmla="*/ 361950 w 12192000"/>
              <a:gd name="connsiteY4" fmla="*/ 344402 h 6858000"/>
              <a:gd name="connsiteX5" fmla="*/ 10262695 w 12192000"/>
              <a:gd name="connsiteY5" fmla="*/ 352021 h 6858000"/>
              <a:gd name="connsiteX6" fmla="*/ 10142680 w 12192000"/>
              <a:gd name="connsiteY6" fmla="*/ 1025401 h 6858000"/>
              <a:gd name="connsiteX7" fmla="*/ 11904664 w 12192000"/>
              <a:gd name="connsiteY7" fmla="*/ 1025401 h 6858000"/>
              <a:gd name="connsiteX8" fmla="*/ 11904664 w 12192000"/>
              <a:gd name="connsiteY8" fmla="*/ 268201 h 6858000"/>
              <a:gd name="connsiteX9" fmla="*/ 10262695 w 12192000"/>
              <a:gd name="connsiteY9" fmla="*/ 35202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344402 h 6858000"/>
              <a:gd name="connsiteX1" fmla="*/ 361950 w 12192000"/>
              <a:gd name="connsiteY1" fmla="*/ 6536402 h 6858000"/>
              <a:gd name="connsiteX2" fmla="*/ 5401950 w 12192000"/>
              <a:gd name="connsiteY2" fmla="*/ 6536402 h 6858000"/>
              <a:gd name="connsiteX3" fmla="*/ 5401950 w 12192000"/>
              <a:gd name="connsiteY3" fmla="*/ 344402 h 6858000"/>
              <a:gd name="connsiteX4" fmla="*/ 361950 w 12192000"/>
              <a:gd name="connsiteY4" fmla="*/ 344402 h 6858000"/>
              <a:gd name="connsiteX5" fmla="*/ 10146490 w 12192000"/>
              <a:gd name="connsiteY5" fmla="*/ 268201 h 6858000"/>
              <a:gd name="connsiteX6" fmla="*/ 10142680 w 12192000"/>
              <a:gd name="connsiteY6" fmla="*/ 1025401 h 6858000"/>
              <a:gd name="connsiteX7" fmla="*/ 11904664 w 12192000"/>
              <a:gd name="connsiteY7" fmla="*/ 1025401 h 6858000"/>
              <a:gd name="connsiteX8" fmla="*/ 11904664 w 12192000"/>
              <a:gd name="connsiteY8" fmla="*/ 268201 h 6858000"/>
              <a:gd name="connsiteX9" fmla="*/ 10146490 w 12192000"/>
              <a:gd name="connsiteY9" fmla="*/ 26820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282702 w 12192000"/>
              <a:gd name="connsiteY0" fmla="*/ 252962 h 6858000"/>
              <a:gd name="connsiteX1" fmla="*/ 361950 w 12192000"/>
              <a:gd name="connsiteY1" fmla="*/ 6536402 h 6858000"/>
              <a:gd name="connsiteX2" fmla="*/ 5401950 w 12192000"/>
              <a:gd name="connsiteY2" fmla="*/ 6536402 h 6858000"/>
              <a:gd name="connsiteX3" fmla="*/ 5401950 w 12192000"/>
              <a:gd name="connsiteY3" fmla="*/ 344402 h 6858000"/>
              <a:gd name="connsiteX4" fmla="*/ 282702 w 12192000"/>
              <a:gd name="connsiteY4" fmla="*/ 252962 h 6858000"/>
              <a:gd name="connsiteX5" fmla="*/ 10146490 w 12192000"/>
              <a:gd name="connsiteY5" fmla="*/ 268201 h 6858000"/>
              <a:gd name="connsiteX6" fmla="*/ 10142680 w 12192000"/>
              <a:gd name="connsiteY6" fmla="*/ 1025401 h 6858000"/>
              <a:gd name="connsiteX7" fmla="*/ 11904664 w 12192000"/>
              <a:gd name="connsiteY7" fmla="*/ 1025401 h 6858000"/>
              <a:gd name="connsiteX8" fmla="*/ 11904664 w 12192000"/>
              <a:gd name="connsiteY8" fmla="*/ 268201 h 6858000"/>
              <a:gd name="connsiteX9" fmla="*/ 10146490 w 12192000"/>
              <a:gd name="connsiteY9" fmla="*/ 26820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282702 w 12192000"/>
              <a:gd name="connsiteY0" fmla="*/ 252962 h 6858000"/>
              <a:gd name="connsiteX1" fmla="*/ 361950 w 12192000"/>
              <a:gd name="connsiteY1" fmla="*/ 6536402 h 6858000"/>
              <a:gd name="connsiteX2" fmla="*/ 5401950 w 12192000"/>
              <a:gd name="connsiteY2" fmla="*/ 6536402 h 6858000"/>
              <a:gd name="connsiteX3" fmla="*/ 5334894 w 12192000"/>
              <a:gd name="connsiteY3" fmla="*/ 259058 h 6858000"/>
              <a:gd name="connsiteX4" fmla="*/ 282702 w 12192000"/>
              <a:gd name="connsiteY4" fmla="*/ 252962 h 6858000"/>
              <a:gd name="connsiteX5" fmla="*/ 10146490 w 12192000"/>
              <a:gd name="connsiteY5" fmla="*/ 268201 h 6858000"/>
              <a:gd name="connsiteX6" fmla="*/ 10142680 w 12192000"/>
              <a:gd name="connsiteY6" fmla="*/ 1025401 h 6858000"/>
              <a:gd name="connsiteX7" fmla="*/ 11904664 w 12192000"/>
              <a:gd name="connsiteY7" fmla="*/ 1025401 h 6858000"/>
              <a:gd name="connsiteX8" fmla="*/ 11904664 w 12192000"/>
              <a:gd name="connsiteY8" fmla="*/ 268201 h 6858000"/>
              <a:gd name="connsiteX9" fmla="*/ 10146490 w 12192000"/>
              <a:gd name="connsiteY9" fmla="*/ 26820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282702 w 12192000"/>
              <a:gd name="connsiteY0" fmla="*/ 252962 h 6858000"/>
              <a:gd name="connsiteX1" fmla="*/ 288798 w 12192000"/>
              <a:gd name="connsiteY1" fmla="*/ 6603458 h 6858000"/>
              <a:gd name="connsiteX2" fmla="*/ 5401950 w 12192000"/>
              <a:gd name="connsiteY2" fmla="*/ 6536402 h 6858000"/>
              <a:gd name="connsiteX3" fmla="*/ 5334894 w 12192000"/>
              <a:gd name="connsiteY3" fmla="*/ 259058 h 6858000"/>
              <a:gd name="connsiteX4" fmla="*/ 282702 w 12192000"/>
              <a:gd name="connsiteY4" fmla="*/ 252962 h 6858000"/>
              <a:gd name="connsiteX5" fmla="*/ 10146490 w 12192000"/>
              <a:gd name="connsiteY5" fmla="*/ 268201 h 6858000"/>
              <a:gd name="connsiteX6" fmla="*/ 10142680 w 12192000"/>
              <a:gd name="connsiteY6" fmla="*/ 1025401 h 6858000"/>
              <a:gd name="connsiteX7" fmla="*/ 11904664 w 12192000"/>
              <a:gd name="connsiteY7" fmla="*/ 1025401 h 6858000"/>
              <a:gd name="connsiteX8" fmla="*/ 11904664 w 12192000"/>
              <a:gd name="connsiteY8" fmla="*/ 268201 h 6858000"/>
              <a:gd name="connsiteX9" fmla="*/ 10146490 w 12192000"/>
              <a:gd name="connsiteY9" fmla="*/ 26820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282702 w 12192000"/>
              <a:gd name="connsiteY0" fmla="*/ 252962 h 6858000"/>
              <a:gd name="connsiteX1" fmla="*/ 288798 w 12192000"/>
              <a:gd name="connsiteY1" fmla="*/ 6603458 h 6858000"/>
              <a:gd name="connsiteX2" fmla="*/ 5328798 w 12192000"/>
              <a:gd name="connsiteY2" fmla="*/ 6597362 h 6858000"/>
              <a:gd name="connsiteX3" fmla="*/ 5334894 w 12192000"/>
              <a:gd name="connsiteY3" fmla="*/ 259058 h 6858000"/>
              <a:gd name="connsiteX4" fmla="*/ 282702 w 12192000"/>
              <a:gd name="connsiteY4" fmla="*/ 252962 h 6858000"/>
              <a:gd name="connsiteX5" fmla="*/ 10146490 w 12192000"/>
              <a:gd name="connsiteY5" fmla="*/ 268201 h 6858000"/>
              <a:gd name="connsiteX6" fmla="*/ 10142680 w 12192000"/>
              <a:gd name="connsiteY6" fmla="*/ 1025401 h 6858000"/>
              <a:gd name="connsiteX7" fmla="*/ 11904664 w 12192000"/>
              <a:gd name="connsiteY7" fmla="*/ 1025401 h 6858000"/>
              <a:gd name="connsiteX8" fmla="*/ 11904664 w 12192000"/>
              <a:gd name="connsiteY8" fmla="*/ 268201 h 6858000"/>
              <a:gd name="connsiteX9" fmla="*/ 10146490 w 12192000"/>
              <a:gd name="connsiteY9" fmla="*/ 26820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282702 w 12192000"/>
              <a:gd name="connsiteY0" fmla="*/ 252962 h 6858000"/>
              <a:gd name="connsiteX1" fmla="*/ 288798 w 12192000"/>
              <a:gd name="connsiteY1" fmla="*/ 6597362 h 6858000"/>
              <a:gd name="connsiteX2" fmla="*/ 5328798 w 12192000"/>
              <a:gd name="connsiteY2" fmla="*/ 6597362 h 6858000"/>
              <a:gd name="connsiteX3" fmla="*/ 5334894 w 12192000"/>
              <a:gd name="connsiteY3" fmla="*/ 259058 h 6858000"/>
              <a:gd name="connsiteX4" fmla="*/ 282702 w 12192000"/>
              <a:gd name="connsiteY4" fmla="*/ 252962 h 6858000"/>
              <a:gd name="connsiteX5" fmla="*/ 10146490 w 12192000"/>
              <a:gd name="connsiteY5" fmla="*/ 268201 h 6858000"/>
              <a:gd name="connsiteX6" fmla="*/ 10142680 w 12192000"/>
              <a:gd name="connsiteY6" fmla="*/ 1025401 h 6858000"/>
              <a:gd name="connsiteX7" fmla="*/ 11904664 w 12192000"/>
              <a:gd name="connsiteY7" fmla="*/ 1025401 h 6858000"/>
              <a:gd name="connsiteX8" fmla="*/ 11904664 w 12192000"/>
              <a:gd name="connsiteY8" fmla="*/ 268201 h 6858000"/>
              <a:gd name="connsiteX9" fmla="*/ 10146490 w 12192000"/>
              <a:gd name="connsiteY9" fmla="*/ 26820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192000" h="6858000">
                <a:moveTo>
                  <a:pt x="282702" y="252962"/>
                </a:moveTo>
                <a:lnTo>
                  <a:pt x="288798" y="6597362"/>
                </a:lnTo>
                <a:lnTo>
                  <a:pt x="5328798" y="6597362"/>
                </a:lnTo>
                <a:lnTo>
                  <a:pt x="5334894" y="259058"/>
                </a:lnTo>
                <a:lnTo>
                  <a:pt x="282702" y="252962"/>
                </a:lnTo>
                <a:close/>
                <a:moveTo>
                  <a:pt x="10146490" y="268201"/>
                </a:moveTo>
                <a:lnTo>
                  <a:pt x="10142680" y="1025401"/>
                </a:lnTo>
                <a:lnTo>
                  <a:pt x="11904664" y="1025401"/>
                </a:lnTo>
                <a:lnTo>
                  <a:pt x="11904664" y="268201"/>
                </a:lnTo>
                <a:lnTo>
                  <a:pt x="10146490" y="268201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5CF86407-DA27-4CA6-A346-F8477F884E96}"/>
              </a:ext>
            </a:extLst>
          </p:cNvPr>
          <p:cNvSpPr>
            <a:spLocks/>
          </p:cNvSpPr>
          <p:nvPr userDrawn="1"/>
        </p:nvSpPr>
        <p:spPr>
          <a:xfrm>
            <a:off x="-1939923" y="2913099"/>
            <a:ext cx="1772284" cy="1031803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spAutoFit/>
          </a:bodyPr>
          <a:lstStyle/>
          <a:p>
            <a:pPr algn="ctr">
              <a:lnSpc>
                <a:spcPct val="90000"/>
              </a:lnSpc>
            </a:pPr>
            <a:r>
              <a:rPr lang="de-DE" sz="1600" b="0" dirty="0">
                <a:solidFill>
                  <a:schemeClr val="tx1"/>
                </a:solidFill>
              </a:rPr>
              <a:t>Bitte keine Folien mit vollflächigen Farben oder Motiven drucken </a:t>
            </a:r>
          </a:p>
        </p:txBody>
      </p:sp>
      <p:sp>
        <p:nvSpPr>
          <p:cNvPr id="23" name="Subline">
            <a:extLst>
              <a:ext uri="{FF2B5EF4-FFF2-40B4-BE49-F238E27FC236}">
                <a16:creationId xmlns:a16="http://schemas.microsoft.com/office/drawing/2014/main" id="{F64F20BE-9490-4534-8D22-D527DF582B1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4904" y="5510860"/>
            <a:ext cx="5040313" cy="360000"/>
          </a:xfrm>
          <a:prstGeom prst="rect">
            <a:avLst/>
          </a:prstGeom>
        </p:spPr>
        <p:txBody>
          <a:bodyPr lIns="288000" rIns="288000" anchor="b" anchorCtr="0">
            <a:noAutofit/>
          </a:bodyPr>
          <a:lstStyle>
            <a:lvl1pPr marL="0" indent="0">
              <a:buNone/>
              <a:defRPr sz="1600" b="1" cap="none" baseline="0">
                <a:latin typeface="+mj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24" name="Textplatzhalter 4">
            <a:extLst>
              <a:ext uri="{FF2B5EF4-FFF2-40B4-BE49-F238E27FC236}">
                <a16:creationId xmlns:a16="http://schemas.microsoft.com/office/drawing/2014/main" id="{DCF84473-59A5-4A28-B312-2557D7CFAFB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4904" y="5886100"/>
            <a:ext cx="5040313" cy="189474"/>
          </a:xfrm>
          <a:prstGeom prst="rect">
            <a:avLst/>
          </a:prstGeom>
        </p:spPr>
        <p:txBody>
          <a:bodyPr lIns="288000" tIns="36000">
            <a:noAutofit/>
          </a:bodyPr>
          <a:lstStyle>
            <a:lvl1pPr marL="0" indent="0">
              <a:buNone/>
              <a:defRPr sz="1600" cap="none" baseline="0"/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25" name="Textplatzhalter 4">
            <a:extLst>
              <a:ext uri="{FF2B5EF4-FFF2-40B4-BE49-F238E27FC236}">
                <a16:creationId xmlns:a16="http://schemas.microsoft.com/office/drawing/2014/main" id="{57D522EB-93F7-49B3-9164-076263457E7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4904" y="6091840"/>
            <a:ext cx="5040313" cy="189474"/>
          </a:xfrm>
          <a:prstGeom prst="rect">
            <a:avLst/>
          </a:prstGeom>
        </p:spPr>
        <p:txBody>
          <a:bodyPr lIns="288000" tIns="36000">
            <a:noAutofit/>
          </a:bodyPr>
          <a:lstStyle>
            <a:lvl1pPr marL="0" indent="0">
              <a:buNone/>
              <a:defRPr sz="1600" cap="none" baseline="0"/>
            </a:lvl1pPr>
          </a:lstStyle>
          <a:p>
            <a:pPr lvl="0"/>
            <a:r>
              <a:rPr lang="de-DE" dirty="0"/>
              <a:t>Datum</a:t>
            </a:r>
          </a:p>
        </p:txBody>
      </p:sp>
      <p:sp>
        <p:nvSpPr>
          <p:cNvPr id="15" name="Textplatzhalter 13"/>
          <p:cNvSpPr>
            <a:spLocks noGrp="1"/>
          </p:cNvSpPr>
          <p:nvPr>
            <p:ph type="body" sz="quarter" idx="18" hasCustomPrompt="1"/>
          </p:nvPr>
        </p:nvSpPr>
        <p:spPr>
          <a:xfrm>
            <a:off x="284904" y="258750"/>
            <a:ext cx="5040313" cy="5040000"/>
          </a:xfrm>
        </p:spPr>
        <p:txBody>
          <a:bodyPr lIns="288000" tIns="288000" rIns="288000" bIns="288000"/>
          <a:lstStyle>
            <a:lvl1pPr>
              <a:spcAft>
                <a:spcPts val="0"/>
              </a:spcAft>
              <a:defRPr sz="3200">
                <a:latin typeface="STIHL Contraface Display Title" pitchFamily="50" charset="0"/>
              </a:defRPr>
            </a:lvl1pPr>
            <a:lvl2pPr>
              <a:spcAft>
                <a:spcPts val="0"/>
              </a:spcAft>
              <a:defRPr>
                <a:latin typeface="STIHL Contraface Display Title" pitchFamily="50" charset="0"/>
              </a:defRPr>
            </a:lvl2pPr>
            <a:lvl3pPr>
              <a:spcAft>
                <a:spcPts val="0"/>
              </a:spcAft>
              <a:defRPr>
                <a:latin typeface="STIHL Contraface Display Title" pitchFamily="50" charset="0"/>
              </a:defRPr>
            </a:lvl3pPr>
            <a:lvl4pPr>
              <a:spcAft>
                <a:spcPts val="0"/>
              </a:spcAft>
              <a:defRPr>
                <a:latin typeface="STIHL Contraface Display Title" pitchFamily="50" charset="0"/>
              </a:defRPr>
            </a:lvl4pPr>
            <a:lvl5pPr>
              <a:spcAft>
                <a:spcPts val="0"/>
              </a:spcAft>
              <a:defRPr>
                <a:latin typeface="STIHL Contraface Display Title" pitchFamily="50" charset="0"/>
              </a:defRPr>
            </a:lvl5pPr>
          </a:lstStyle>
          <a:p>
            <a:pPr lvl="0"/>
            <a:r>
              <a:rPr lang="de-DE" dirty="0"/>
              <a:t>Mastertitel-format bearbeiten</a:t>
            </a:r>
            <a:br>
              <a:rPr lang="de-DE" dirty="0"/>
            </a:br>
            <a:r>
              <a:rPr lang="de-DE" dirty="0"/>
              <a:t>ƒ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5CF86407-DA27-4CA6-A346-F8477F884E96}"/>
              </a:ext>
            </a:extLst>
          </p:cNvPr>
          <p:cNvSpPr>
            <a:spLocks/>
          </p:cNvSpPr>
          <p:nvPr userDrawn="1"/>
        </p:nvSpPr>
        <p:spPr>
          <a:xfrm>
            <a:off x="-1943099" y="4254839"/>
            <a:ext cx="1772284" cy="16966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72000" rIns="72000" bIns="72000" rtlCol="0" anchor="ctr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de-DE" sz="1600" b="0" dirty="0">
                <a:solidFill>
                  <a:schemeClr val="tx1"/>
                </a:solidFill>
              </a:rPr>
              <a:t>Einfügen des Unterstrichs nach der Headline über den Nummern-block und die Tastenkombination „Alt + 0131“</a:t>
            </a:r>
          </a:p>
        </p:txBody>
      </p:sp>
    </p:spTree>
    <p:extLst>
      <p:ext uri="{BB962C8B-B14F-4D97-AF65-F5344CB8AC3E}">
        <p14:creationId xmlns:p14="http://schemas.microsoft.com/office/powerpoint/2010/main" val="326040177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70" imgH="371" progId="TCLayout.ActiveDocument.1">
                  <p:embed/>
                </p:oleObj>
              </mc:Choice>
              <mc:Fallback>
                <p:oleObj name="think-cell Folie" r:id="rId3" imgW="370" imgH="371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>
            <a:extLst>
              <a:ext uri="{FF2B5EF4-FFF2-40B4-BE49-F238E27FC236}">
                <a16:creationId xmlns:a16="http://schemas.microsoft.com/office/drawing/2014/main" id="{16762DA5-7BF5-44ED-A0E7-1C1B1049A63C}"/>
              </a:ext>
            </a:extLst>
          </p:cNvPr>
          <p:cNvSpPr/>
          <p:nvPr userDrawn="1"/>
        </p:nvSpPr>
        <p:spPr>
          <a:xfrm>
            <a:off x="495191" y="6283982"/>
            <a:ext cx="450741" cy="94593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684D222-F168-4BDD-AE60-92B32E63659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9425" y="4834859"/>
            <a:ext cx="7812088" cy="1336071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>
            <a:lvl1pPr marL="0" indent="0">
              <a:lnSpc>
                <a:spcPct val="90000"/>
              </a:lnSpc>
              <a:buNone/>
              <a:defRPr lang="de-DE" sz="4800" b="1" cap="all" baseline="0" smtClean="0">
                <a:latin typeface="STIHL Contraface Display Title" panose="02000600040000020004" pitchFamily="50" charset="0"/>
              </a:defRPr>
            </a:lvl1pPr>
            <a:lvl2pPr marL="277812" indent="0">
              <a:buNone/>
              <a:defRPr lang="de-DE" smtClean="0"/>
            </a:lvl2pPr>
            <a:lvl3pPr marL="739775" indent="0">
              <a:buNone/>
              <a:defRPr lang="de-DE" sz="1800" smtClean="0"/>
            </a:lvl3pPr>
            <a:lvl4pPr marL="1190625" indent="0">
              <a:buNone/>
              <a:defRPr lang="de-DE" sz="1800" smtClean="0"/>
            </a:lvl4pPr>
            <a:lvl5pPr marL="1647825" indent="0">
              <a:buNone/>
              <a:defRPr lang="de-DE" sz="1800"/>
            </a:lvl5pPr>
          </a:lstStyle>
          <a:p>
            <a:pPr marL="0" lvl="0"/>
            <a:r>
              <a:rPr lang="de-DE" dirty="0"/>
              <a:t>Schlussfolie bearbeiten</a:t>
            </a:r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30262" y="502821"/>
            <a:ext cx="1385810" cy="287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447916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ohne Hintergrund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70" imgH="371" progId="TCLayout.ActiveDocument.1">
                  <p:embed/>
                </p:oleObj>
              </mc:Choice>
              <mc:Fallback>
                <p:oleObj name="think-cell Folie" r:id="rId3" imgW="370" imgH="371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684D222-F168-4BDD-AE60-92B32E63659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9425" y="4834859"/>
            <a:ext cx="7812088" cy="1336071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>
            <a:lvl1pPr marL="0" indent="0">
              <a:buNone/>
              <a:tabLst>
                <a:tab pos="1074738" algn="l"/>
              </a:tabLst>
              <a:defRPr lang="de-DE" sz="4800" b="1" cap="all" baseline="0" smtClean="0">
                <a:latin typeface="STIHL Contraface Display Title" panose="02000600040000020004" pitchFamily="50" charset="0"/>
              </a:defRPr>
            </a:lvl1pPr>
            <a:lvl2pPr marL="277812" indent="0">
              <a:buNone/>
              <a:defRPr lang="de-DE" smtClean="0"/>
            </a:lvl2pPr>
            <a:lvl3pPr marL="739775" indent="0">
              <a:buNone/>
              <a:defRPr lang="de-DE" sz="1800" smtClean="0"/>
            </a:lvl3pPr>
            <a:lvl4pPr marL="1190625" indent="0">
              <a:buNone/>
              <a:defRPr lang="de-DE" sz="1800" smtClean="0"/>
            </a:lvl4pPr>
            <a:lvl5pPr marL="1647825" indent="0">
              <a:buNone/>
              <a:defRPr lang="de-DE" sz="1800"/>
            </a:lvl5pPr>
          </a:lstStyle>
          <a:p>
            <a:pPr marL="0" lvl="0"/>
            <a:r>
              <a:rPr lang="de-DE" dirty="0" err="1"/>
              <a:t>Kapiteltrenner</a:t>
            </a:r>
            <a:r>
              <a:rPr lang="de-DE" dirty="0"/>
              <a:t> bearbeiten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5228CAB1-2EA1-4F8A-B1D7-C5BA22E44783}"/>
              </a:ext>
            </a:extLst>
          </p:cNvPr>
          <p:cNvSpPr/>
          <p:nvPr userDrawn="1"/>
        </p:nvSpPr>
        <p:spPr>
          <a:xfrm>
            <a:off x="495191" y="6283982"/>
            <a:ext cx="450741" cy="94593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de-DE" dirty="0"/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30262" y="502821"/>
            <a:ext cx="1385810" cy="287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520685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mit Hintergrund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70" imgH="371" progId="TCLayout.ActiveDocument.1">
                  <p:embed/>
                </p:oleObj>
              </mc:Choice>
              <mc:Fallback>
                <p:oleObj name="think-cell Folie" r:id="rId3" imgW="370" imgH="371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14">
            <a:extLst>
              <a:ext uri="{FF2B5EF4-FFF2-40B4-BE49-F238E27FC236}">
                <a16:creationId xmlns:a16="http://schemas.microsoft.com/office/drawing/2014/main" id="{12A2E7EC-D35A-4A4A-BBD2-6097A2AF781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361950 w 12192000"/>
              <a:gd name="connsiteY0" fmla="*/ 2751084 h 6858000"/>
              <a:gd name="connsiteX1" fmla="*/ 361950 w 12192000"/>
              <a:gd name="connsiteY1" fmla="*/ 6534807 h 6858000"/>
              <a:gd name="connsiteX2" fmla="*/ 5401950 w 12192000"/>
              <a:gd name="connsiteY2" fmla="*/ 6534807 h 6858000"/>
              <a:gd name="connsiteX3" fmla="*/ 5401950 w 12192000"/>
              <a:gd name="connsiteY3" fmla="*/ 2751084 h 6858000"/>
              <a:gd name="connsiteX4" fmla="*/ 10129345 w 12192000"/>
              <a:gd name="connsiteY4" fmla="*/ 344401 h 6858000"/>
              <a:gd name="connsiteX5" fmla="*/ 10129345 w 12192000"/>
              <a:gd name="connsiteY5" fmla="*/ 1099696 h 6858000"/>
              <a:gd name="connsiteX6" fmla="*/ 11857039 w 12192000"/>
              <a:gd name="connsiteY6" fmla="*/ 1099696 h 6858000"/>
              <a:gd name="connsiteX7" fmla="*/ 11857039 w 12192000"/>
              <a:gd name="connsiteY7" fmla="*/ 344401 h 6858000"/>
              <a:gd name="connsiteX8" fmla="*/ 0 w 12192000"/>
              <a:gd name="connsiteY8" fmla="*/ 0 h 6858000"/>
              <a:gd name="connsiteX9" fmla="*/ 12192000 w 12192000"/>
              <a:gd name="connsiteY9" fmla="*/ 0 h 6858000"/>
              <a:gd name="connsiteX10" fmla="*/ 12192000 w 12192000"/>
              <a:gd name="connsiteY10" fmla="*/ 6858000 h 6858000"/>
              <a:gd name="connsiteX11" fmla="*/ 0 w 12192000"/>
              <a:gd name="connsiteY11" fmla="*/ 6858000 h 6858000"/>
              <a:gd name="connsiteX0" fmla="*/ 361950 w 12192000"/>
              <a:gd name="connsiteY0" fmla="*/ 2751084 h 6858000"/>
              <a:gd name="connsiteX1" fmla="*/ 361950 w 12192000"/>
              <a:gd name="connsiteY1" fmla="*/ 6534807 h 6858000"/>
              <a:gd name="connsiteX2" fmla="*/ 5401950 w 12192000"/>
              <a:gd name="connsiteY2" fmla="*/ 6534807 h 6858000"/>
              <a:gd name="connsiteX3" fmla="*/ 5401950 w 12192000"/>
              <a:gd name="connsiteY3" fmla="*/ 2751084 h 6858000"/>
              <a:gd name="connsiteX4" fmla="*/ 361950 w 12192000"/>
              <a:gd name="connsiteY4" fmla="*/ 2751084 h 6858000"/>
              <a:gd name="connsiteX5" fmla="*/ 10136965 w 12192000"/>
              <a:gd name="connsiteY5" fmla="*/ 258041 h 6858000"/>
              <a:gd name="connsiteX6" fmla="*/ 10129345 w 12192000"/>
              <a:gd name="connsiteY6" fmla="*/ 1099696 h 6858000"/>
              <a:gd name="connsiteX7" fmla="*/ 11857039 w 12192000"/>
              <a:gd name="connsiteY7" fmla="*/ 1099696 h 6858000"/>
              <a:gd name="connsiteX8" fmla="*/ 11857039 w 12192000"/>
              <a:gd name="connsiteY8" fmla="*/ 34440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2751084 h 6858000"/>
              <a:gd name="connsiteX1" fmla="*/ 361950 w 12192000"/>
              <a:gd name="connsiteY1" fmla="*/ 6534807 h 6858000"/>
              <a:gd name="connsiteX2" fmla="*/ 5401950 w 12192000"/>
              <a:gd name="connsiteY2" fmla="*/ 6534807 h 6858000"/>
              <a:gd name="connsiteX3" fmla="*/ 5401950 w 12192000"/>
              <a:gd name="connsiteY3" fmla="*/ 2751084 h 6858000"/>
              <a:gd name="connsiteX4" fmla="*/ 361950 w 12192000"/>
              <a:gd name="connsiteY4" fmla="*/ 2751084 h 6858000"/>
              <a:gd name="connsiteX5" fmla="*/ 10136965 w 12192000"/>
              <a:gd name="connsiteY5" fmla="*/ 258041 h 6858000"/>
              <a:gd name="connsiteX6" fmla="*/ 10129345 w 12192000"/>
              <a:gd name="connsiteY6" fmla="*/ 1099696 h 6858000"/>
              <a:gd name="connsiteX7" fmla="*/ 11857039 w 12192000"/>
              <a:gd name="connsiteY7" fmla="*/ 109969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2751084 h 6858000"/>
              <a:gd name="connsiteX1" fmla="*/ 361950 w 12192000"/>
              <a:gd name="connsiteY1" fmla="*/ 6534807 h 6858000"/>
              <a:gd name="connsiteX2" fmla="*/ 5401950 w 12192000"/>
              <a:gd name="connsiteY2" fmla="*/ 6534807 h 6858000"/>
              <a:gd name="connsiteX3" fmla="*/ 5401950 w 12192000"/>
              <a:gd name="connsiteY3" fmla="*/ 2751084 h 6858000"/>
              <a:gd name="connsiteX4" fmla="*/ 361950 w 12192000"/>
              <a:gd name="connsiteY4" fmla="*/ 2751084 h 6858000"/>
              <a:gd name="connsiteX5" fmla="*/ 10136965 w 12192000"/>
              <a:gd name="connsiteY5" fmla="*/ 258041 h 6858000"/>
              <a:gd name="connsiteX6" fmla="*/ 10129345 w 12192000"/>
              <a:gd name="connsiteY6" fmla="*/ 1099696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2751084 h 6858000"/>
              <a:gd name="connsiteX1" fmla="*/ 361950 w 12192000"/>
              <a:gd name="connsiteY1" fmla="*/ 6534807 h 6858000"/>
              <a:gd name="connsiteX2" fmla="*/ 5401950 w 12192000"/>
              <a:gd name="connsiteY2" fmla="*/ 6534807 h 6858000"/>
              <a:gd name="connsiteX3" fmla="*/ 5401950 w 12192000"/>
              <a:gd name="connsiteY3" fmla="*/ 2751084 h 6858000"/>
              <a:gd name="connsiteX4" fmla="*/ 361950 w 12192000"/>
              <a:gd name="connsiteY4" fmla="*/ 2751084 h 6858000"/>
              <a:gd name="connsiteX5" fmla="*/ 10136965 w 12192000"/>
              <a:gd name="connsiteY5" fmla="*/ 258041 h 6858000"/>
              <a:gd name="connsiteX6" fmla="*/ 10131885 w 12192000"/>
              <a:gd name="connsiteY6" fmla="*/ 1033656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2751084 h 6858000"/>
              <a:gd name="connsiteX1" fmla="*/ 361950 w 12192000"/>
              <a:gd name="connsiteY1" fmla="*/ 6534807 h 6858000"/>
              <a:gd name="connsiteX2" fmla="*/ 5401950 w 12192000"/>
              <a:gd name="connsiteY2" fmla="*/ 6534807 h 6858000"/>
              <a:gd name="connsiteX3" fmla="*/ 5401950 w 12192000"/>
              <a:gd name="connsiteY3" fmla="*/ 2751084 h 6858000"/>
              <a:gd name="connsiteX4" fmla="*/ 361950 w 12192000"/>
              <a:gd name="connsiteY4" fmla="*/ 2751084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2751084 h 6858000"/>
              <a:gd name="connsiteX1" fmla="*/ 642366 w 12192000"/>
              <a:gd name="connsiteY1" fmla="*/ 6534807 h 6858000"/>
              <a:gd name="connsiteX2" fmla="*/ 5401950 w 12192000"/>
              <a:gd name="connsiteY2" fmla="*/ 6534807 h 6858000"/>
              <a:gd name="connsiteX3" fmla="*/ 5401950 w 12192000"/>
              <a:gd name="connsiteY3" fmla="*/ 2751084 h 6858000"/>
              <a:gd name="connsiteX4" fmla="*/ 361950 w 12192000"/>
              <a:gd name="connsiteY4" fmla="*/ 2751084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642366 w 12192000"/>
              <a:gd name="connsiteY0" fmla="*/ 6426972 h 6858000"/>
              <a:gd name="connsiteX1" fmla="*/ 642366 w 12192000"/>
              <a:gd name="connsiteY1" fmla="*/ 6534807 h 6858000"/>
              <a:gd name="connsiteX2" fmla="*/ 5401950 w 12192000"/>
              <a:gd name="connsiteY2" fmla="*/ 6534807 h 6858000"/>
              <a:gd name="connsiteX3" fmla="*/ 5401950 w 12192000"/>
              <a:gd name="connsiteY3" fmla="*/ 2751084 h 6858000"/>
              <a:gd name="connsiteX4" fmla="*/ 642366 w 12192000"/>
              <a:gd name="connsiteY4" fmla="*/ 6426972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642366 w 12192000"/>
              <a:gd name="connsiteY0" fmla="*/ 6426972 h 6858000"/>
              <a:gd name="connsiteX1" fmla="*/ 642366 w 12192000"/>
              <a:gd name="connsiteY1" fmla="*/ 6534807 h 6858000"/>
              <a:gd name="connsiteX2" fmla="*/ 5401950 w 12192000"/>
              <a:gd name="connsiteY2" fmla="*/ 6534807 h 6858000"/>
              <a:gd name="connsiteX3" fmla="*/ 1378590 w 12192000"/>
              <a:gd name="connsiteY3" fmla="*/ 6122172 h 6858000"/>
              <a:gd name="connsiteX4" fmla="*/ 642366 w 12192000"/>
              <a:gd name="connsiteY4" fmla="*/ 6426972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642366 w 12192000"/>
              <a:gd name="connsiteY0" fmla="*/ 6426972 h 6858000"/>
              <a:gd name="connsiteX1" fmla="*/ 642366 w 12192000"/>
              <a:gd name="connsiteY1" fmla="*/ 6534807 h 6858000"/>
              <a:gd name="connsiteX2" fmla="*/ 1195710 w 12192000"/>
              <a:gd name="connsiteY2" fmla="*/ 6565287 h 6858000"/>
              <a:gd name="connsiteX3" fmla="*/ 1378590 w 12192000"/>
              <a:gd name="connsiteY3" fmla="*/ 6122172 h 6858000"/>
              <a:gd name="connsiteX4" fmla="*/ 642366 w 12192000"/>
              <a:gd name="connsiteY4" fmla="*/ 6426972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642366 w 12192000"/>
              <a:gd name="connsiteY0" fmla="*/ 6426972 h 6858000"/>
              <a:gd name="connsiteX1" fmla="*/ 642366 w 12192000"/>
              <a:gd name="connsiteY1" fmla="*/ 6534807 h 6858000"/>
              <a:gd name="connsiteX2" fmla="*/ 1195710 w 12192000"/>
              <a:gd name="connsiteY2" fmla="*/ 6565287 h 6858000"/>
              <a:gd name="connsiteX3" fmla="*/ 1378590 w 12192000"/>
              <a:gd name="connsiteY3" fmla="*/ 6122172 h 6858000"/>
              <a:gd name="connsiteX4" fmla="*/ 642366 w 12192000"/>
              <a:gd name="connsiteY4" fmla="*/ 6426972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642366 w 12192000"/>
              <a:gd name="connsiteY0" fmla="*/ 6426972 h 6858000"/>
              <a:gd name="connsiteX1" fmla="*/ 642366 w 12192000"/>
              <a:gd name="connsiteY1" fmla="*/ 6534807 h 6858000"/>
              <a:gd name="connsiteX2" fmla="*/ 1102365 w 12192000"/>
              <a:gd name="connsiteY2" fmla="*/ 6536712 h 6858000"/>
              <a:gd name="connsiteX3" fmla="*/ 1378590 w 12192000"/>
              <a:gd name="connsiteY3" fmla="*/ 6122172 h 6858000"/>
              <a:gd name="connsiteX4" fmla="*/ 642366 w 12192000"/>
              <a:gd name="connsiteY4" fmla="*/ 6426972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642366 w 12192000"/>
              <a:gd name="connsiteY0" fmla="*/ 6426972 h 6858000"/>
              <a:gd name="connsiteX1" fmla="*/ 642366 w 12192000"/>
              <a:gd name="connsiteY1" fmla="*/ 6534807 h 6858000"/>
              <a:gd name="connsiteX2" fmla="*/ 1102365 w 12192000"/>
              <a:gd name="connsiteY2" fmla="*/ 6536712 h 6858000"/>
              <a:gd name="connsiteX3" fmla="*/ 1106175 w 12192000"/>
              <a:gd name="connsiteY3" fmla="*/ 6434592 h 6858000"/>
              <a:gd name="connsiteX4" fmla="*/ 642366 w 12192000"/>
              <a:gd name="connsiteY4" fmla="*/ 6426972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642366 w 12192000"/>
              <a:gd name="connsiteY0" fmla="*/ 6426972 h 6858000"/>
              <a:gd name="connsiteX1" fmla="*/ 642366 w 12192000"/>
              <a:gd name="connsiteY1" fmla="*/ 6534807 h 6858000"/>
              <a:gd name="connsiteX2" fmla="*/ 1106175 w 12192000"/>
              <a:gd name="connsiteY2" fmla="*/ 6538617 h 6858000"/>
              <a:gd name="connsiteX3" fmla="*/ 1106175 w 12192000"/>
              <a:gd name="connsiteY3" fmla="*/ 6434592 h 6858000"/>
              <a:gd name="connsiteX4" fmla="*/ 642366 w 12192000"/>
              <a:gd name="connsiteY4" fmla="*/ 6426972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646176 w 12192000"/>
              <a:gd name="connsiteY0" fmla="*/ 6430782 h 6858000"/>
              <a:gd name="connsiteX1" fmla="*/ 642366 w 12192000"/>
              <a:gd name="connsiteY1" fmla="*/ 6534807 h 6858000"/>
              <a:gd name="connsiteX2" fmla="*/ 1106175 w 12192000"/>
              <a:gd name="connsiteY2" fmla="*/ 6538617 h 6858000"/>
              <a:gd name="connsiteX3" fmla="*/ 1106175 w 12192000"/>
              <a:gd name="connsiteY3" fmla="*/ 6434592 h 6858000"/>
              <a:gd name="connsiteX4" fmla="*/ 646176 w 12192000"/>
              <a:gd name="connsiteY4" fmla="*/ 6430782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646176 w 12192000"/>
              <a:gd name="connsiteY0" fmla="*/ 6430782 h 6858000"/>
              <a:gd name="connsiteX1" fmla="*/ 642366 w 12192000"/>
              <a:gd name="connsiteY1" fmla="*/ 6534807 h 6858000"/>
              <a:gd name="connsiteX2" fmla="*/ 1106175 w 12192000"/>
              <a:gd name="connsiteY2" fmla="*/ 6538617 h 6858000"/>
              <a:gd name="connsiteX3" fmla="*/ 1106175 w 12192000"/>
              <a:gd name="connsiteY3" fmla="*/ 6432687 h 6858000"/>
              <a:gd name="connsiteX4" fmla="*/ 646176 w 12192000"/>
              <a:gd name="connsiteY4" fmla="*/ 6430782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646176 w 12192000"/>
              <a:gd name="connsiteY0" fmla="*/ 6430782 h 6858000"/>
              <a:gd name="connsiteX1" fmla="*/ 642366 w 12192000"/>
              <a:gd name="connsiteY1" fmla="*/ 6534807 h 6858000"/>
              <a:gd name="connsiteX2" fmla="*/ 1106175 w 12192000"/>
              <a:gd name="connsiteY2" fmla="*/ 6538617 h 6858000"/>
              <a:gd name="connsiteX3" fmla="*/ 1106175 w 12192000"/>
              <a:gd name="connsiteY3" fmla="*/ 6428877 h 6858000"/>
              <a:gd name="connsiteX4" fmla="*/ 646176 w 12192000"/>
              <a:gd name="connsiteY4" fmla="*/ 6430782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646176 w 12192000"/>
              <a:gd name="connsiteY0" fmla="*/ 6430782 h 6858000"/>
              <a:gd name="connsiteX1" fmla="*/ 642366 w 12192000"/>
              <a:gd name="connsiteY1" fmla="*/ 6534807 h 6858000"/>
              <a:gd name="connsiteX2" fmla="*/ 1106175 w 12192000"/>
              <a:gd name="connsiteY2" fmla="*/ 6538617 h 6858000"/>
              <a:gd name="connsiteX3" fmla="*/ 1106175 w 12192000"/>
              <a:gd name="connsiteY3" fmla="*/ 6430782 h 6858000"/>
              <a:gd name="connsiteX4" fmla="*/ 646176 w 12192000"/>
              <a:gd name="connsiteY4" fmla="*/ 6430782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646176 w 12192000"/>
              <a:gd name="connsiteY0" fmla="*/ 6430782 h 6858000"/>
              <a:gd name="connsiteX1" fmla="*/ 642366 w 12192000"/>
              <a:gd name="connsiteY1" fmla="*/ 6534807 h 6858000"/>
              <a:gd name="connsiteX2" fmla="*/ 1106175 w 12192000"/>
              <a:gd name="connsiteY2" fmla="*/ 6536712 h 6858000"/>
              <a:gd name="connsiteX3" fmla="*/ 1106175 w 12192000"/>
              <a:gd name="connsiteY3" fmla="*/ 6430782 h 6858000"/>
              <a:gd name="connsiteX4" fmla="*/ 646176 w 12192000"/>
              <a:gd name="connsiteY4" fmla="*/ 6430782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646176 w 12192000"/>
              <a:gd name="connsiteY0" fmla="*/ 6430782 h 6858000"/>
              <a:gd name="connsiteX1" fmla="*/ 644271 w 12192000"/>
              <a:gd name="connsiteY1" fmla="*/ 6534807 h 6858000"/>
              <a:gd name="connsiteX2" fmla="*/ 1106175 w 12192000"/>
              <a:gd name="connsiteY2" fmla="*/ 6536712 h 6858000"/>
              <a:gd name="connsiteX3" fmla="*/ 1106175 w 12192000"/>
              <a:gd name="connsiteY3" fmla="*/ 6430782 h 6858000"/>
              <a:gd name="connsiteX4" fmla="*/ 646176 w 12192000"/>
              <a:gd name="connsiteY4" fmla="*/ 6430782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644271 w 12192000"/>
              <a:gd name="connsiteY0" fmla="*/ 6430782 h 6858000"/>
              <a:gd name="connsiteX1" fmla="*/ 644271 w 12192000"/>
              <a:gd name="connsiteY1" fmla="*/ 6534807 h 6858000"/>
              <a:gd name="connsiteX2" fmla="*/ 1106175 w 12192000"/>
              <a:gd name="connsiteY2" fmla="*/ 6536712 h 6858000"/>
              <a:gd name="connsiteX3" fmla="*/ 1106175 w 12192000"/>
              <a:gd name="connsiteY3" fmla="*/ 6430782 h 6858000"/>
              <a:gd name="connsiteX4" fmla="*/ 644271 w 12192000"/>
              <a:gd name="connsiteY4" fmla="*/ 6430782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644271 w 12192000"/>
              <a:gd name="connsiteY0" fmla="*/ 6430782 h 6858000"/>
              <a:gd name="connsiteX1" fmla="*/ 644271 w 12192000"/>
              <a:gd name="connsiteY1" fmla="*/ 6534807 h 6858000"/>
              <a:gd name="connsiteX2" fmla="*/ 1106175 w 12192000"/>
              <a:gd name="connsiteY2" fmla="*/ 6536712 h 6858000"/>
              <a:gd name="connsiteX3" fmla="*/ 1106175 w 12192000"/>
              <a:gd name="connsiteY3" fmla="*/ 6430782 h 6858000"/>
              <a:gd name="connsiteX4" fmla="*/ 644271 w 12192000"/>
              <a:gd name="connsiteY4" fmla="*/ 6430782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644271 w 12192000"/>
              <a:gd name="connsiteY1" fmla="*/ 6534807 h 6858000"/>
              <a:gd name="connsiteX2" fmla="*/ 1106175 w 12192000"/>
              <a:gd name="connsiteY2" fmla="*/ 6536712 h 6858000"/>
              <a:gd name="connsiteX3" fmla="*/ 1106175 w 12192000"/>
              <a:gd name="connsiteY3" fmla="*/ 6430782 h 6858000"/>
              <a:gd name="connsiteX4" fmla="*/ 489966 w 12192000"/>
              <a:gd name="connsiteY4" fmla="*/ 6280287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644271 w 12192000"/>
              <a:gd name="connsiteY1" fmla="*/ 6534807 h 6858000"/>
              <a:gd name="connsiteX2" fmla="*/ 1106175 w 12192000"/>
              <a:gd name="connsiteY2" fmla="*/ 6536712 h 6858000"/>
              <a:gd name="connsiteX3" fmla="*/ 951870 w 12192000"/>
              <a:gd name="connsiteY3" fmla="*/ 6278382 h 6858000"/>
              <a:gd name="connsiteX4" fmla="*/ 489966 w 12192000"/>
              <a:gd name="connsiteY4" fmla="*/ 6280287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644271 w 12192000"/>
              <a:gd name="connsiteY1" fmla="*/ 6534807 h 6858000"/>
              <a:gd name="connsiteX2" fmla="*/ 1106175 w 12192000"/>
              <a:gd name="connsiteY2" fmla="*/ 6536712 h 6858000"/>
              <a:gd name="connsiteX3" fmla="*/ 951870 w 12192000"/>
              <a:gd name="connsiteY3" fmla="*/ 6278382 h 6858000"/>
              <a:gd name="connsiteX4" fmla="*/ 489966 w 12192000"/>
              <a:gd name="connsiteY4" fmla="*/ 6280287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644271 w 12192000"/>
              <a:gd name="connsiteY1" fmla="*/ 6534807 h 6858000"/>
              <a:gd name="connsiteX2" fmla="*/ 1106175 w 12192000"/>
              <a:gd name="connsiteY2" fmla="*/ 6536712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644271 w 12192000"/>
              <a:gd name="connsiteY1" fmla="*/ 6534807 h 6858000"/>
              <a:gd name="connsiteX2" fmla="*/ 953775 w 12192000"/>
              <a:gd name="connsiteY2" fmla="*/ 6384312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3775 w 12192000"/>
              <a:gd name="connsiteY2" fmla="*/ 6384312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3775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4029 w 12192000"/>
              <a:gd name="connsiteY8" fmla="*/ 271376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751629 w 12192000"/>
              <a:gd name="connsiteY8" fmla="*/ 419966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2124 w 12192000"/>
              <a:gd name="connsiteY8" fmla="*/ 267566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209355 w 12192000"/>
              <a:gd name="connsiteY5" fmla="*/ 31900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2124 w 12192000"/>
              <a:gd name="connsiteY8" fmla="*/ 267566 h 6858000"/>
              <a:gd name="connsiteX9" fmla="*/ 10209355 w 12192000"/>
              <a:gd name="connsiteY9" fmla="*/ 31900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44585 w 12192000"/>
              <a:gd name="connsiteY5" fmla="*/ 26947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2124 w 12192000"/>
              <a:gd name="connsiteY8" fmla="*/ 267566 h 6858000"/>
              <a:gd name="connsiteX9" fmla="*/ 10144585 w 12192000"/>
              <a:gd name="connsiteY9" fmla="*/ 26947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44585 w 12192000"/>
              <a:gd name="connsiteY5" fmla="*/ 269471 h 6858000"/>
              <a:gd name="connsiteX6" fmla="*/ 10215705 w 12192000"/>
              <a:gd name="connsiteY6" fmla="*/ 982221 h 6858000"/>
              <a:gd name="connsiteX7" fmla="*/ 11907839 w 12192000"/>
              <a:gd name="connsiteY7" fmla="*/ 1031116 h 6858000"/>
              <a:gd name="connsiteX8" fmla="*/ 11902124 w 12192000"/>
              <a:gd name="connsiteY8" fmla="*/ 267566 h 6858000"/>
              <a:gd name="connsiteX9" fmla="*/ 10144585 w 12192000"/>
              <a:gd name="connsiteY9" fmla="*/ 26947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44585 w 12192000"/>
              <a:gd name="connsiteY5" fmla="*/ 269471 h 6858000"/>
              <a:gd name="connsiteX6" fmla="*/ 10145220 w 12192000"/>
              <a:gd name="connsiteY6" fmla="*/ 1027941 h 6858000"/>
              <a:gd name="connsiteX7" fmla="*/ 11907839 w 12192000"/>
              <a:gd name="connsiteY7" fmla="*/ 1031116 h 6858000"/>
              <a:gd name="connsiteX8" fmla="*/ 11902124 w 12192000"/>
              <a:gd name="connsiteY8" fmla="*/ 267566 h 6858000"/>
              <a:gd name="connsiteX9" fmla="*/ 10144585 w 12192000"/>
              <a:gd name="connsiteY9" fmla="*/ 26947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44585 w 12192000"/>
              <a:gd name="connsiteY5" fmla="*/ 269471 h 6858000"/>
              <a:gd name="connsiteX6" fmla="*/ 10145220 w 12192000"/>
              <a:gd name="connsiteY6" fmla="*/ 1027941 h 6858000"/>
              <a:gd name="connsiteX7" fmla="*/ 11803064 w 12192000"/>
              <a:gd name="connsiteY7" fmla="*/ 954916 h 6858000"/>
              <a:gd name="connsiteX8" fmla="*/ 11902124 w 12192000"/>
              <a:gd name="connsiteY8" fmla="*/ 267566 h 6858000"/>
              <a:gd name="connsiteX9" fmla="*/ 10144585 w 12192000"/>
              <a:gd name="connsiteY9" fmla="*/ 26947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44585 w 12192000"/>
              <a:gd name="connsiteY5" fmla="*/ 269471 h 6858000"/>
              <a:gd name="connsiteX6" fmla="*/ 10145220 w 12192000"/>
              <a:gd name="connsiteY6" fmla="*/ 1027941 h 6858000"/>
              <a:gd name="connsiteX7" fmla="*/ 11904029 w 12192000"/>
              <a:gd name="connsiteY7" fmla="*/ 1027306 h 6858000"/>
              <a:gd name="connsiteX8" fmla="*/ 11902124 w 12192000"/>
              <a:gd name="connsiteY8" fmla="*/ 267566 h 6858000"/>
              <a:gd name="connsiteX9" fmla="*/ 10144585 w 12192000"/>
              <a:gd name="connsiteY9" fmla="*/ 26947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44585 w 12192000"/>
              <a:gd name="connsiteY5" fmla="*/ 269471 h 6858000"/>
              <a:gd name="connsiteX6" fmla="*/ 10145220 w 12192000"/>
              <a:gd name="connsiteY6" fmla="*/ 1027941 h 6858000"/>
              <a:gd name="connsiteX7" fmla="*/ 11673524 w 12192000"/>
              <a:gd name="connsiteY7" fmla="*/ 907291 h 6858000"/>
              <a:gd name="connsiteX8" fmla="*/ 11902124 w 12192000"/>
              <a:gd name="connsiteY8" fmla="*/ 267566 h 6858000"/>
              <a:gd name="connsiteX9" fmla="*/ 10144585 w 12192000"/>
              <a:gd name="connsiteY9" fmla="*/ 26947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44585 w 12192000"/>
              <a:gd name="connsiteY5" fmla="*/ 269471 h 6858000"/>
              <a:gd name="connsiteX6" fmla="*/ 10145220 w 12192000"/>
              <a:gd name="connsiteY6" fmla="*/ 1027941 h 6858000"/>
              <a:gd name="connsiteX7" fmla="*/ 11902124 w 12192000"/>
              <a:gd name="connsiteY7" fmla="*/ 1027306 h 6858000"/>
              <a:gd name="connsiteX8" fmla="*/ 11902124 w 12192000"/>
              <a:gd name="connsiteY8" fmla="*/ 267566 h 6858000"/>
              <a:gd name="connsiteX9" fmla="*/ 10144585 w 12192000"/>
              <a:gd name="connsiteY9" fmla="*/ 26947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44585 w 12192000"/>
              <a:gd name="connsiteY5" fmla="*/ 269471 h 6858000"/>
              <a:gd name="connsiteX6" fmla="*/ 10474785 w 12192000"/>
              <a:gd name="connsiteY6" fmla="*/ 904116 h 6858000"/>
              <a:gd name="connsiteX7" fmla="*/ 11902124 w 12192000"/>
              <a:gd name="connsiteY7" fmla="*/ 1027306 h 6858000"/>
              <a:gd name="connsiteX8" fmla="*/ 11902124 w 12192000"/>
              <a:gd name="connsiteY8" fmla="*/ 267566 h 6858000"/>
              <a:gd name="connsiteX9" fmla="*/ 10144585 w 12192000"/>
              <a:gd name="connsiteY9" fmla="*/ 26947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44585 w 12192000"/>
              <a:gd name="connsiteY5" fmla="*/ 269471 h 6858000"/>
              <a:gd name="connsiteX6" fmla="*/ 10145220 w 12192000"/>
              <a:gd name="connsiteY6" fmla="*/ 1026036 h 6858000"/>
              <a:gd name="connsiteX7" fmla="*/ 11902124 w 12192000"/>
              <a:gd name="connsiteY7" fmla="*/ 1027306 h 6858000"/>
              <a:gd name="connsiteX8" fmla="*/ 11902124 w 12192000"/>
              <a:gd name="connsiteY8" fmla="*/ 267566 h 6858000"/>
              <a:gd name="connsiteX9" fmla="*/ 10144585 w 12192000"/>
              <a:gd name="connsiteY9" fmla="*/ 26947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44585 w 12192000"/>
              <a:gd name="connsiteY5" fmla="*/ 269471 h 6858000"/>
              <a:gd name="connsiteX6" fmla="*/ 10145220 w 12192000"/>
              <a:gd name="connsiteY6" fmla="*/ 1026036 h 6858000"/>
              <a:gd name="connsiteX7" fmla="*/ 11902124 w 12192000"/>
              <a:gd name="connsiteY7" fmla="*/ 1027306 h 6858000"/>
              <a:gd name="connsiteX8" fmla="*/ 11902124 w 12192000"/>
              <a:gd name="connsiteY8" fmla="*/ 267566 h 6858000"/>
              <a:gd name="connsiteX9" fmla="*/ 10144585 w 12192000"/>
              <a:gd name="connsiteY9" fmla="*/ 26947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510345 w 12192000"/>
              <a:gd name="connsiteY5" fmla="*/ 581891 h 6858000"/>
              <a:gd name="connsiteX6" fmla="*/ 10145220 w 12192000"/>
              <a:gd name="connsiteY6" fmla="*/ 1026036 h 6858000"/>
              <a:gd name="connsiteX7" fmla="*/ 11902124 w 12192000"/>
              <a:gd name="connsiteY7" fmla="*/ 1027306 h 6858000"/>
              <a:gd name="connsiteX8" fmla="*/ 11902124 w 12192000"/>
              <a:gd name="connsiteY8" fmla="*/ 267566 h 6858000"/>
              <a:gd name="connsiteX9" fmla="*/ 10510345 w 12192000"/>
              <a:gd name="connsiteY9" fmla="*/ 58189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44585 w 12192000"/>
              <a:gd name="connsiteY5" fmla="*/ 265661 h 6858000"/>
              <a:gd name="connsiteX6" fmla="*/ 10145220 w 12192000"/>
              <a:gd name="connsiteY6" fmla="*/ 1026036 h 6858000"/>
              <a:gd name="connsiteX7" fmla="*/ 11902124 w 12192000"/>
              <a:gd name="connsiteY7" fmla="*/ 1027306 h 6858000"/>
              <a:gd name="connsiteX8" fmla="*/ 11902124 w 12192000"/>
              <a:gd name="connsiteY8" fmla="*/ 267566 h 6858000"/>
              <a:gd name="connsiteX9" fmla="*/ 10144585 w 12192000"/>
              <a:gd name="connsiteY9" fmla="*/ 26566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226500 w 12192000"/>
              <a:gd name="connsiteY5" fmla="*/ 339956 h 6858000"/>
              <a:gd name="connsiteX6" fmla="*/ 10145220 w 12192000"/>
              <a:gd name="connsiteY6" fmla="*/ 1026036 h 6858000"/>
              <a:gd name="connsiteX7" fmla="*/ 11902124 w 12192000"/>
              <a:gd name="connsiteY7" fmla="*/ 1027306 h 6858000"/>
              <a:gd name="connsiteX8" fmla="*/ 11902124 w 12192000"/>
              <a:gd name="connsiteY8" fmla="*/ 267566 h 6858000"/>
              <a:gd name="connsiteX9" fmla="*/ 10226500 w 12192000"/>
              <a:gd name="connsiteY9" fmla="*/ 33995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46490 w 12192000"/>
              <a:gd name="connsiteY5" fmla="*/ 267566 h 6858000"/>
              <a:gd name="connsiteX6" fmla="*/ 10145220 w 12192000"/>
              <a:gd name="connsiteY6" fmla="*/ 1026036 h 6858000"/>
              <a:gd name="connsiteX7" fmla="*/ 11902124 w 12192000"/>
              <a:gd name="connsiteY7" fmla="*/ 1027306 h 6858000"/>
              <a:gd name="connsiteX8" fmla="*/ 11902124 w 12192000"/>
              <a:gd name="connsiteY8" fmla="*/ 267566 h 6858000"/>
              <a:gd name="connsiteX9" fmla="*/ 10146490 w 12192000"/>
              <a:gd name="connsiteY9" fmla="*/ 26756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192000" h="6858000">
                <a:moveTo>
                  <a:pt x="489966" y="6280287"/>
                </a:moveTo>
                <a:lnTo>
                  <a:pt x="488061" y="6386217"/>
                </a:lnTo>
                <a:lnTo>
                  <a:pt x="951870" y="6386217"/>
                </a:lnTo>
                <a:lnTo>
                  <a:pt x="951870" y="6280287"/>
                </a:lnTo>
                <a:lnTo>
                  <a:pt x="489966" y="6280287"/>
                </a:lnTo>
                <a:close/>
                <a:moveTo>
                  <a:pt x="10146490" y="267566"/>
                </a:moveTo>
                <a:cubicBezTo>
                  <a:pt x="10144797" y="526104"/>
                  <a:pt x="10146913" y="767498"/>
                  <a:pt x="10145220" y="1026036"/>
                </a:cubicBezTo>
                <a:lnTo>
                  <a:pt x="11902124" y="1027306"/>
                </a:lnTo>
                <a:lnTo>
                  <a:pt x="11902124" y="267566"/>
                </a:lnTo>
                <a:lnTo>
                  <a:pt x="10146490" y="267566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B2BCC63D-764D-453B-B95D-B53E771DF12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9425" y="4834859"/>
            <a:ext cx="7812088" cy="1336071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>
            <a:lvl1pPr marL="0" indent="0">
              <a:buNone/>
              <a:tabLst>
                <a:tab pos="1074738" algn="l"/>
              </a:tabLst>
              <a:defRPr lang="de-DE" sz="4800" b="1" cap="all" baseline="0" smtClean="0">
                <a:solidFill>
                  <a:schemeClr val="bg1"/>
                </a:solidFill>
                <a:latin typeface="STIHL Contraface Display Title" panose="02000600040000020004" pitchFamily="50" charset="0"/>
              </a:defRPr>
            </a:lvl1pPr>
            <a:lvl2pPr marL="277812" indent="0">
              <a:buNone/>
              <a:defRPr lang="de-DE" smtClean="0"/>
            </a:lvl2pPr>
            <a:lvl3pPr marL="739775" indent="0">
              <a:buNone/>
              <a:defRPr lang="de-DE" sz="1800" smtClean="0"/>
            </a:lvl3pPr>
            <a:lvl4pPr marL="1190625" indent="0">
              <a:buNone/>
              <a:defRPr lang="de-DE" sz="1800" smtClean="0"/>
            </a:lvl4pPr>
            <a:lvl5pPr marL="1647825" indent="0">
              <a:buNone/>
              <a:defRPr lang="de-DE" sz="1800"/>
            </a:lvl5pPr>
          </a:lstStyle>
          <a:p>
            <a:pPr marL="0" lvl="0"/>
            <a:r>
              <a:rPr lang="de-DE" dirty="0" err="1"/>
              <a:t>Kapiteltrenner</a:t>
            </a:r>
            <a:r>
              <a:rPr lang="de-DE" dirty="0"/>
              <a:t> bearbeiten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2C6085ED-8EF3-4C74-9B9D-7804FC5FAEA1}"/>
              </a:ext>
            </a:extLst>
          </p:cNvPr>
          <p:cNvSpPr/>
          <p:nvPr userDrawn="1"/>
        </p:nvSpPr>
        <p:spPr>
          <a:xfrm>
            <a:off x="495191" y="6283982"/>
            <a:ext cx="450741" cy="9459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de-DE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5CF86407-DA27-4CA6-A346-F8477F884E96}"/>
              </a:ext>
            </a:extLst>
          </p:cNvPr>
          <p:cNvSpPr>
            <a:spLocks/>
          </p:cNvSpPr>
          <p:nvPr userDrawn="1"/>
        </p:nvSpPr>
        <p:spPr>
          <a:xfrm>
            <a:off x="-1939923" y="2913099"/>
            <a:ext cx="1772284" cy="1031803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spAutoFit/>
          </a:bodyPr>
          <a:lstStyle/>
          <a:p>
            <a:pPr algn="ctr">
              <a:lnSpc>
                <a:spcPct val="90000"/>
              </a:lnSpc>
            </a:pPr>
            <a:r>
              <a:rPr lang="de-DE" sz="1600" b="0" dirty="0">
                <a:solidFill>
                  <a:schemeClr val="tx1"/>
                </a:solidFill>
              </a:rPr>
              <a:t>Bitte keine Folien mit vollflächigen Farben oder Motiven drucken </a:t>
            </a: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6061" y="258750"/>
            <a:ext cx="1774212" cy="7756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982804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Hintergrund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70" imgH="371" progId="TCLayout.ActiveDocument.1">
                  <p:embed/>
                </p:oleObj>
              </mc:Choice>
              <mc:Fallback>
                <p:oleObj name="think-cell Folie" r:id="rId3" imgW="370" imgH="371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Bildplatzhalter 14">
            <a:extLst>
              <a:ext uri="{FF2B5EF4-FFF2-40B4-BE49-F238E27FC236}">
                <a16:creationId xmlns:a16="http://schemas.microsoft.com/office/drawing/2014/main" id="{12A2E7EC-D35A-4A4A-BBD2-6097A2AF781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361950 w 12192000"/>
              <a:gd name="connsiteY0" fmla="*/ 2751084 h 6858000"/>
              <a:gd name="connsiteX1" fmla="*/ 361950 w 12192000"/>
              <a:gd name="connsiteY1" fmla="*/ 6534807 h 6858000"/>
              <a:gd name="connsiteX2" fmla="*/ 5401950 w 12192000"/>
              <a:gd name="connsiteY2" fmla="*/ 6534807 h 6858000"/>
              <a:gd name="connsiteX3" fmla="*/ 5401950 w 12192000"/>
              <a:gd name="connsiteY3" fmla="*/ 2751084 h 6858000"/>
              <a:gd name="connsiteX4" fmla="*/ 10129345 w 12192000"/>
              <a:gd name="connsiteY4" fmla="*/ 344401 h 6858000"/>
              <a:gd name="connsiteX5" fmla="*/ 10129345 w 12192000"/>
              <a:gd name="connsiteY5" fmla="*/ 1099696 h 6858000"/>
              <a:gd name="connsiteX6" fmla="*/ 11857039 w 12192000"/>
              <a:gd name="connsiteY6" fmla="*/ 1099696 h 6858000"/>
              <a:gd name="connsiteX7" fmla="*/ 11857039 w 12192000"/>
              <a:gd name="connsiteY7" fmla="*/ 344401 h 6858000"/>
              <a:gd name="connsiteX8" fmla="*/ 0 w 12192000"/>
              <a:gd name="connsiteY8" fmla="*/ 0 h 6858000"/>
              <a:gd name="connsiteX9" fmla="*/ 12192000 w 12192000"/>
              <a:gd name="connsiteY9" fmla="*/ 0 h 6858000"/>
              <a:gd name="connsiteX10" fmla="*/ 12192000 w 12192000"/>
              <a:gd name="connsiteY10" fmla="*/ 6858000 h 6858000"/>
              <a:gd name="connsiteX11" fmla="*/ 0 w 12192000"/>
              <a:gd name="connsiteY11" fmla="*/ 6858000 h 6858000"/>
              <a:gd name="connsiteX0" fmla="*/ 361950 w 12192000"/>
              <a:gd name="connsiteY0" fmla="*/ 2751084 h 6858000"/>
              <a:gd name="connsiteX1" fmla="*/ 361950 w 12192000"/>
              <a:gd name="connsiteY1" fmla="*/ 6534807 h 6858000"/>
              <a:gd name="connsiteX2" fmla="*/ 5401950 w 12192000"/>
              <a:gd name="connsiteY2" fmla="*/ 6534807 h 6858000"/>
              <a:gd name="connsiteX3" fmla="*/ 5401950 w 12192000"/>
              <a:gd name="connsiteY3" fmla="*/ 2751084 h 6858000"/>
              <a:gd name="connsiteX4" fmla="*/ 361950 w 12192000"/>
              <a:gd name="connsiteY4" fmla="*/ 2751084 h 6858000"/>
              <a:gd name="connsiteX5" fmla="*/ 10136965 w 12192000"/>
              <a:gd name="connsiteY5" fmla="*/ 258041 h 6858000"/>
              <a:gd name="connsiteX6" fmla="*/ 10129345 w 12192000"/>
              <a:gd name="connsiteY6" fmla="*/ 1099696 h 6858000"/>
              <a:gd name="connsiteX7" fmla="*/ 11857039 w 12192000"/>
              <a:gd name="connsiteY7" fmla="*/ 1099696 h 6858000"/>
              <a:gd name="connsiteX8" fmla="*/ 11857039 w 12192000"/>
              <a:gd name="connsiteY8" fmla="*/ 34440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2751084 h 6858000"/>
              <a:gd name="connsiteX1" fmla="*/ 361950 w 12192000"/>
              <a:gd name="connsiteY1" fmla="*/ 6534807 h 6858000"/>
              <a:gd name="connsiteX2" fmla="*/ 5401950 w 12192000"/>
              <a:gd name="connsiteY2" fmla="*/ 6534807 h 6858000"/>
              <a:gd name="connsiteX3" fmla="*/ 5401950 w 12192000"/>
              <a:gd name="connsiteY3" fmla="*/ 2751084 h 6858000"/>
              <a:gd name="connsiteX4" fmla="*/ 361950 w 12192000"/>
              <a:gd name="connsiteY4" fmla="*/ 2751084 h 6858000"/>
              <a:gd name="connsiteX5" fmla="*/ 10136965 w 12192000"/>
              <a:gd name="connsiteY5" fmla="*/ 258041 h 6858000"/>
              <a:gd name="connsiteX6" fmla="*/ 10129345 w 12192000"/>
              <a:gd name="connsiteY6" fmla="*/ 1099696 h 6858000"/>
              <a:gd name="connsiteX7" fmla="*/ 11857039 w 12192000"/>
              <a:gd name="connsiteY7" fmla="*/ 109969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2751084 h 6858000"/>
              <a:gd name="connsiteX1" fmla="*/ 361950 w 12192000"/>
              <a:gd name="connsiteY1" fmla="*/ 6534807 h 6858000"/>
              <a:gd name="connsiteX2" fmla="*/ 5401950 w 12192000"/>
              <a:gd name="connsiteY2" fmla="*/ 6534807 h 6858000"/>
              <a:gd name="connsiteX3" fmla="*/ 5401950 w 12192000"/>
              <a:gd name="connsiteY3" fmla="*/ 2751084 h 6858000"/>
              <a:gd name="connsiteX4" fmla="*/ 361950 w 12192000"/>
              <a:gd name="connsiteY4" fmla="*/ 2751084 h 6858000"/>
              <a:gd name="connsiteX5" fmla="*/ 10136965 w 12192000"/>
              <a:gd name="connsiteY5" fmla="*/ 258041 h 6858000"/>
              <a:gd name="connsiteX6" fmla="*/ 10129345 w 12192000"/>
              <a:gd name="connsiteY6" fmla="*/ 1099696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2751084 h 6858000"/>
              <a:gd name="connsiteX1" fmla="*/ 361950 w 12192000"/>
              <a:gd name="connsiteY1" fmla="*/ 6534807 h 6858000"/>
              <a:gd name="connsiteX2" fmla="*/ 5401950 w 12192000"/>
              <a:gd name="connsiteY2" fmla="*/ 6534807 h 6858000"/>
              <a:gd name="connsiteX3" fmla="*/ 5401950 w 12192000"/>
              <a:gd name="connsiteY3" fmla="*/ 2751084 h 6858000"/>
              <a:gd name="connsiteX4" fmla="*/ 361950 w 12192000"/>
              <a:gd name="connsiteY4" fmla="*/ 2751084 h 6858000"/>
              <a:gd name="connsiteX5" fmla="*/ 10136965 w 12192000"/>
              <a:gd name="connsiteY5" fmla="*/ 258041 h 6858000"/>
              <a:gd name="connsiteX6" fmla="*/ 10131885 w 12192000"/>
              <a:gd name="connsiteY6" fmla="*/ 1033656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2751084 h 6858000"/>
              <a:gd name="connsiteX1" fmla="*/ 361950 w 12192000"/>
              <a:gd name="connsiteY1" fmla="*/ 6534807 h 6858000"/>
              <a:gd name="connsiteX2" fmla="*/ 5401950 w 12192000"/>
              <a:gd name="connsiteY2" fmla="*/ 6534807 h 6858000"/>
              <a:gd name="connsiteX3" fmla="*/ 5401950 w 12192000"/>
              <a:gd name="connsiteY3" fmla="*/ 2751084 h 6858000"/>
              <a:gd name="connsiteX4" fmla="*/ 361950 w 12192000"/>
              <a:gd name="connsiteY4" fmla="*/ 2751084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2751084 h 6858000"/>
              <a:gd name="connsiteX1" fmla="*/ 642366 w 12192000"/>
              <a:gd name="connsiteY1" fmla="*/ 6534807 h 6858000"/>
              <a:gd name="connsiteX2" fmla="*/ 5401950 w 12192000"/>
              <a:gd name="connsiteY2" fmla="*/ 6534807 h 6858000"/>
              <a:gd name="connsiteX3" fmla="*/ 5401950 w 12192000"/>
              <a:gd name="connsiteY3" fmla="*/ 2751084 h 6858000"/>
              <a:gd name="connsiteX4" fmla="*/ 361950 w 12192000"/>
              <a:gd name="connsiteY4" fmla="*/ 2751084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642366 w 12192000"/>
              <a:gd name="connsiteY0" fmla="*/ 6426972 h 6858000"/>
              <a:gd name="connsiteX1" fmla="*/ 642366 w 12192000"/>
              <a:gd name="connsiteY1" fmla="*/ 6534807 h 6858000"/>
              <a:gd name="connsiteX2" fmla="*/ 5401950 w 12192000"/>
              <a:gd name="connsiteY2" fmla="*/ 6534807 h 6858000"/>
              <a:gd name="connsiteX3" fmla="*/ 5401950 w 12192000"/>
              <a:gd name="connsiteY3" fmla="*/ 2751084 h 6858000"/>
              <a:gd name="connsiteX4" fmla="*/ 642366 w 12192000"/>
              <a:gd name="connsiteY4" fmla="*/ 6426972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642366 w 12192000"/>
              <a:gd name="connsiteY0" fmla="*/ 6426972 h 6858000"/>
              <a:gd name="connsiteX1" fmla="*/ 642366 w 12192000"/>
              <a:gd name="connsiteY1" fmla="*/ 6534807 h 6858000"/>
              <a:gd name="connsiteX2" fmla="*/ 5401950 w 12192000"/>
              <a:gd name="connsiteY2" fmla="*/ 6534807 h 6858000"/>
              <a:gd name="connsiteX3" fmla="*/ 1378590 w 12192000"/>
              <a:gd name="connsiteY3" fmla="*/ 6122172 h 6858000"/>
              <a:gd name="connsiteX4" fmla="*/ 642366 w 12192000"/>
              <a:gd name="connsiteY4" fmla="*/ 6426972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642366 w 12192000"/>
              <a:gd name="connsiteY0" fmla="*/ 6426972 h 6858000"/>
              <a:gd name="connsiteX1" fmla="*/ 642366 w 12192000"/>
              <a:gd name="connsiteY1" fmla="*/ 6534807 h 6858000"/>
              <a:gd name="connsiteX2" fmla="*/ 1195710 w 12192000"/>
              <a:gd name="connsiteY2" fmla="*/ 6565287 h 6858000"/>
              <a:gd name="connsiteX3" fmla="*/ 1378590 w 12192000"/>
              <a:gd name="connsiteY3" fmla="*/ 6122172 h 6858000"/>
              <a:gd name="connsiteX4" fmla="*/ 642366 w 12192000"/>
              <a:gd name="connsiteY4" fmla="*/ 6426972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642366 w 12192000"/>
              <a:gd name="connsiteY0" fmla="*/ 6426972 h 6858000"/>
              <a:gd name="connsiteX1" fmla="*/ 642366 w 12192000"/>
              <a:gd name="connsiteY1" fmla="*/ 6534807 h 6858000"/>
              <a:gd name="connsiteX2" fmla="*/ 1195710 w 12192000"/>
              <a:gd name="connsiteY2" fmla="*/ 6565287 h 6858000"/>
              <a:gd name="connsiteX3" fmla="*/ 1378590 w 12192000"/>
              <a:gd name="connsiteY3" fmla="*/ 6122172 h 6858000"/>
              <a:gd name="connsiteX4" fmla="*/ 642366 w 12192000"/>
              <a:gd name="connsiteY4" fmla="*/ 6426972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642366 w 12192000"/>
              <a:gd name="connsiteY0" fmla="*/ 6426972 h 6858000"/>
              <a:gd name="connsiteX1" fmla="*/ 642366 w 12192000"/>
              <a:gd name="connsiteY1" fmla="*/ 6534807 h 6858000"/>
              <a:gd name="connsiteX2" fmla="*/ 1102365 w 12192000"/>
              <a:gd name="connsiteY2" fmla="*/ 6536712 h 6858000"/>
              <a:gd name="connsiteX3" fmla="*/ 1378590 w 12192000"/>
              <a:gd name="connsiteY3" fmla="*/ 6122172 h 6858000"/>
              <a:gd name="connsiteX4" fmla="*/ 642366 w 12192000"/>
              <a:gd name="connsiteY4" fmla="*/ 6426972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642366 w 12192000"/>
              <a:gd name="connsiteY0" fmla="*/ 6426972 h 6858000"/>
              <a:gd name="connsiteX1" fmla="*/ 642366 w 12192000"/>
              <a:gd name="connsiteY1" fmla="*/ 6534807 h 6858000"/>
              <a:gd name="connsiteX2" fmla="*/ 1102365 w 12192000"/>
              <a:gd name="connsiteY2" fmla="*/ 6536712 h 6858000"/>
              <a:gd name="connsiteX3" fmla="*/ 1106175 w 12192000"/>
              <a:gd name="connsiteY3" fmla="*/ 6434592 h 6858000"/>
              <a:gd name="connsiteX4" fmla="*/ 642366 w 12192000"/>
              <a:gd name="connsiteY4" fmla="*/ 6426972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642366 w 12192000"/>
              <a:gd name="connsiteY0" fmla="*/ 6426972 h 6858000"/>
              <a:gd name="connsiteX1" fmla="*/ 642366 w 12192000"/>
              <a:gd name="connsiteY1" fmla="*/ 6534807 h 6858000"/>
              <a:gd name="connsiteX2" fmla="*/ 1106175 w 12192000"/>
              <a:gd name="connsiteY2" fmla="*/ 6538617 h 6858000"/>
              <a:gd name="connsiteX3" fmla="*/ 1106175 w 12192000"/>
              <a:gd name="connsiteY3" fmla="*/ 6434592 h 6858000"/>
              <a:gd name="connsiteX4" fmla="*/ 642366 w 12192000"/>
              <a:gd name="connsiteY4" fmla="*/ 6426972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646176 w 12192000"/>
              <a:gd name="connsiteY0" fmla="*/ 6430782 h 6858000"/>
              <a:gd name="connsiteX1" fmla="*/ 642366 w 12192000"/>
              <a:gd name="connsiteY1" fmla="*/ 6534807 h 6858000"/>
              <a:gd name="connsiteX2" fmla="*/ 1106175 w 12192000"/>
              <a:gd name="connsiteY2" fmla="*/ 6538617 h 6858000"/>
              <a:gd name="connsiteX3" fmla="*/ 1106175 w 12192000"/>
              <a:gd name="connsiteY3" fmla="*/ 6434592 h 6858000"/>
              <a:gd name="connsiteX4" fmla="*/ 646176 w 12192000"/>
              <a:gd name="connsiteY4" fmla="*/ 6430782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646176 w 12192000"/>
              <a:gd name="connsiteY0" fmla="*/ 6430782 h 6858000"/>
              <a:gd name="connsiteX1" fmla="*/ 642366 w 12192000"/>
              <a:gd name="connsiteY1" fmla="*/ 6534807 h 6858000"/>
              <a:gd name="connsiteX2" fmla="*/ 1106175 w 12192000"/>
              <a:gd name="connsiteY2" fmla="*/ 6538617 h 6858000"/>
              <a:gd name="connsiteX3" fmla="*/ 1106175 w 12192000"/>
              <a:gd name="connsiteY3" fmla="*/ 6432687 h 6858000"/>
              <a:gd name="connsiteX4" fmla="*/ 646176 w 12192000"/>
              <a:gd name="connsiteY4" fmla="*/ 6430782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646176 w 12192000"/>
              <a:gd name="connsiteY0" fmla="*/ 6430782 h 6858000"/>
              <a:gd name="connsiteX1" fmla="*/ 642366 w 12192000"/>
              <a:gd name="connsiteY1" fmla="*/ 6534807 h 6858000"/>
              <a:gd name="connsiteX2" fmla="*/ 1106175 w 12192000"/>
              <a:gd name="connsiteY2" fmla="*/ 6538617 h 6858000"/>
              <a:gd name="connsiteX3" fmla="*/ 1106175 w 12192000"/>
              <a:gd name="connsiteY3" fmla="*/ 6428877 h 6858000"/>
              <a:gd name="connsiteX4" fmla="*/ 646176 w 12192000"/>
              <a:gd name="connsiteY4" fmla="*/ 6430782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646176 w 12192000"/>
              <a:gd name="connsiteY0" fmla="*/ 6430782 h 6858000"/>
              <a:gd name="connsiteX1" fmla="*/ 642366 w 12192000"/>
              <a:gd name="connsiteY1" fmla="*/ 6534807 h 6858000"/>
              <a:gd name="connsiteX2" fmla="*/ 1106175 w 12192000"/>
              <a:gd name="connsiteY2" fmla="*/ 6538617 h 6858000"/>
              <a:gd name="connsiteX3" fmla="*/ 1106175 w 12192000"/>
              <a:gd name="connsiteY3" fmla="*/ 6430782 h 6858000"/>
              <a:gd name="connsiteX4" fmla="*/ 646176 w 12192000"/>
              <a:gd name="connsiteY4" fmla="*/ 6430782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646176 w 12192000"/>
              <a:gd name="connsiteY0" fmla="*/ 6430782 h 6858000"/>
              <a:gd name="connsiteX1" fmla="*/ 642366 w 12192000"/>
              <a:gd name="connsiteY1" fmla="*/ 6534807 h 6858000"/>
              <a:gd name="connsiteX2" fmla="*/ 1106175 w 12192000"/>
              <a:gd name="connsiteY2" fmla="*/ 6536712 h 6858000"/>
              <a:gd name="connsiteX3" fmla="*/ 1106175 w 12192000"/>
              <a:gd name="connsiteY3" fmla="*/ 6430782 h 6858000"/>
              <a:gd name="connsiteX4" fmla="*/ 646176 w 12192000"/>
              <a:gd name="connsiteY4" fmla="*/ 6430782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646176 w 12192000"/>
              <a:gd name="connsiteY0" fmla="*/ 6430782 h 6858000"/>
              <a:gd name="connsiteX1" fmla="*/ 644271 w 12192000"/>
              <a:gd name="connsiteY1" fmla="*/ 6534807 h 6858000"/>
              <a:gd name="connsiteX2" fmla="*/ 1106175 w 12192000"/>
              <a:gd name="connsiteY2" fmla="*/ 6536712 h 6858000"/>
              <a:gd name="connsiteX3" fmla="*/ 1106175 w 12192000"/>
              <a:gd name="connsiteY3" fmla="*/ 6430782 h 6858000"/>
              <a:gd name="connsiteX4" fmla="*/ 646176 w 12192000"/>
              <a:gd name="connsiteY4" fmla="*/ 6430782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644271 w 12192000"/>
              <a:gd name="connsiteY0" fmla="*/ 6430782 h 6858000"/>
              <a:gd name="connsiteX1" fmla="*/ 644271 w 12192000"/>
              <a:gd name="connsiteY1" fmla="*/ 6534807 h 6858000"/>
              <a:gd name="connsiteX2" fmla="*/ 1106175 w 12192000"/>
              <a:gd name="connsiteY2" fmla="*/ 6536712 h 6858000"/>
              <a:gd name="connsiteX3" fmla="*/ 1106175 w 12192000"/>
              <a:gd name="connsiteY3" fmla="*/ 6430782 h 6858000"/>
              <a:gd name="connsiteX4" fmla="*/ 644271 w 12192000"/>
              <a:gd name="connsiteY4" fmla="*/ 6430782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644271 w 12192000"/>
              <a:gd name="connsiteY0" fmla="*/ 6430782 h 6858000"/>
              <a:gd name="connsiteX1" fmla="*/ 644271 w 12192000"/>
              <a:gd name="connsiteY1" fmla="*/ 6534807 h 6858000"/>
              <a:gd name="connsiteX2" fmla="*/ 1106175 w 12192000"/>
              <a:gd name="connsiteY2" fmla="*/ 6536712 h 6858000"/>
              <a:gd name="connsiteX3" fmla="*/ 1106175 w 12192000"/>
              <a:gd name="connsiteY3" fmla="*/ 6430782 h 6858000"/>
              <a:gd name="connsiteX4" fmla="*/ 644271 w 12192000"/>
              <a:gd name="connsiteY4" fmla="*/ 6430782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644271 w 12192000"/>
              <a:gd name="connsiteY1" fmla="*/ 6534807 h 6858000"/>
              <a:gd name="connsiteX2" fmla="*/ 1106175 w 12192000"/>
              <a:gd name="connsiteY2" fmla="*/ 6536712 h 6858000"/>
              <a:gd name="connsiteX3" fmla="*/ 1106175 w 12192000"/>
              <a:gd name="connsiteY3" fmla="*/ 6430782 h 6858000"/>
              <a:gd name="connsiteX4" fmla="*/ 489966 w 12192000"/>
              <a:gd name="connsiteY4" fmla="*/ 6280287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644271 w 12192000"/>
              <a:gd name="connsiteY1" fmla="*/ 6534807 h 6858000"/>
              <a:gd name="connsiteX2" fmla="*/ 1106175 w 12192000"/>
              <a:gd name="connsiteY2" fmla="*/ 6536712 h 6858000"/>
              <a:gd name="connsiteX3" fmla="*/ 951870 w 12192000"/>
              <a:gd name="connsiteY3" fmla="*/ 6278382 h 6858000"/>
              <a:gd name="connsiteX4" fmla="*/ 489966 w 12192000"/>
              <a:gd name="connsiteY4" fmla="*/ 6280287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644271 w 12192000"/>
              <a:gd name="connsiteY1" fmla="*/ 6534807 h 6858000"/>
              <a:gd name="connsiteX2" fmla="*/ 1106175 w 12192000"/>
              <a:gd name="connsiteY2" fmla="*/ 6536712 h 6858000"/>
              <a:gd name="connsiteX3" fmla="*/ 951870 w 12192000"/>
              <a:gd name="connsiteY3" fmla="*/ 6278382 h 6858000"/>
              <a:gd name="connsiteX4" fmla="*/ 489966 w 12192000"/>
              <a:gd name="connsiteY4" fmla="*/ 6280287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644271 w 12192000"/>
              <a:gd name="connsiteY1" fmla="*/ 6534807 h 6858000"/>
              <a:gd name="connsiteX2" fmla="*/ 1106175 w 12192000"/>
              <a:gd name="connsiteY2" fmla="*/ 6536712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644271 w 12192000"/>
              <a:gd name="connsiteY1" fmla="*/ 6534807 h 6858000"/>
              <a:gd name="connsiteX2" fmla="*/ 953775 w 12192000"/>
              <a:gd name="connsiteY2" fmla="*/ 6384312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3775 w 12192000"/>
              <a:gd name="connsiteY2" fmla="*/ 6384312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3775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4029 w 12192000"/>
              <a:gd name="connsiteY8" fmla="*/ 271376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751629 w 12192000"/>
              <a:gd name="connsiteY8" fmla="*/ 419966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2124 w 12192000"/>
              <a:gd name="connsiteY8" fmla="*/ 267566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209355 w 12192000"/>
              <a:gd name="connsiteY5" fmla="*/ 31900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2124 w 12192000"/>
              <a:gd name="connsiteY8" fmla="*/ 267566 h 6858000"/>
              <a:gd name="connsiteX9" fmla="*/ 10209355 w 12192000"/>
              <a:gd name="connsiteY9" fmla="*/ 31900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44585 w 12192000"/>
              <a:gd name="connsiteY5" fmla="*/ 26947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2124 w 12192000"/>
              <a:gd name="connsiteY8" fmla="*/ 267566 h 6858000"/>
              <a:gd name="connsiteX9" fmla="*/ 10144585 w 12192000"/>
              <a:gd name="connsiteY9" fmla="*/ 26947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44585 w 12192000"/>
              <a:gd name="connsiteY5" fmla="*/ 269471 h 6858000"/>
              <a:gd name="connsiteX6" fmla="*/ 10215705 w 12192000"/>
              <a:gd name="connsiteY6" fmla="*/ 982221 h 6858000"/>
              <a:gd name="connsiteX7" fmla="*/ 11907839 w 12192000"/>
              <a:gd name="connsiteY7" fmla="*/ 1031116 h 6858000"/>
              <a:gd name="connsiteX8" fmla="*/ 11902124 w 12192000"/>
              <a:gd name="connsiteY8" fmla="*/ 267566 h 6858000"/>
              <a:gd name="connsiteX9" fmla="*/ 10144585 w 12192000"/>
              <a:gd name="connsiteY9" fmla="*/ 26947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44585 w 12192000"/>
              <a:gd name="connsiteY5" fmla="*/ 269471 h 6858000"/>
              <a:gd name="connsiteX6" fmla="*/ 10145220 w 12192000"/>
              <a:gd name="connsiteY6" fmla="*/ 1027941 h 6858000"/>
              <a:gd name="connsiteX7" fmla="*/ 11907839 w 12192000"/>
              <a:gd name="connsiteY7" fmla="*/ 1031116 h 6858000"/>
              <a:gd name="connsiteX8" fmla="*/ 11902124 w 12192000"/>
              <a:gd name="connsiteY8" fmla="*/ 267566 h 6858000"/>
              <a:gd name="connsiteX9" fmla="*/ 10144585 w 12192000"/>
              <a:gd name="connsiteY9" fmla="*/ 26947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44585 w 12192000"/>
              <a:gd name="connsiteY5" fmla="*/ 269471 h 6858000"/>
              <a:gd name="connsiteX6" fmla="*/ 10145220 w 12192000"/>
              <a:gd name="connsiteY6" fmla="*/ 1027941 h 6858000"/>
              <a:gd name="connsiteX7" fmla="*/ 11803064 w 12192000"/>
              <a:gd name="connsiteY7" fmla="*/ 954916 h 6858000"/>
              <a:gd name="connsiteX8" fmla="*/ 11902124 w 12192000"/>
              <a:gd name="connsiteY8" fmla="*/ 267566 h 6858000"/>
              <a:gd name="connsiteX9" fmla="*/ 10144585 w 12192000"/>
              <a:gd name="connsiteY9" fmla="*/ 26947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44585 w 12192000"/>
              <a:gd name="connsiteY5" fmla="*/ 269471 h 6858000"/>
              <a:gd name="connsiteX6" fmla="*/ 10145220 w 12192000"/>
              <a:gd name="connsiteY6" fmla="*/ 1027941 h 6858000"/>
              <a:gd name="connsiteX7" fmla="*/ 11904029 w 12192000"/>
              <a:gd name="connsiteY7" fmla="*/ 1027306 h 6858000"/>
              <a:gd name="connsiteX8" fmla="*/ 11902124 w 12192000"/>
              <a:gd name="connsiteY8" fmla="*/ 267566 h 6858000"/>
              <a:gd name="connsiteX9" fmla="*/ 10144585 w 12192000"/>
              <a:gd name="connsiteY9" fmla="*/ 26947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316035 w 12192000"/>
              <a:gd name="connsiteY5" fmla="*/ 364721 h 6858000"/>
              <a:gd name="connsiteX6" fmla="*/ 10145220 w 12192000"/>
              <a:gd name="connsiteY6" fmla="*/ 1027941 h 6858000"/>
              <a:gd name="connsiteX7" fmla="*/ 11904029 w 12192000"/>
              <a:gd name="connsiteY7" fmla="*/ 1027306 h 6858000"/>
              <a:gd name="connsiteX8" fmla="*/ 11902124 w 12192000"/>
              <a:gd name="connsiteY8" fmla="*/ 267566 h 6858000"/>
              <a:gd name="connsiteX9" fmla="*/ 10316035 w 12192000"/>
              <a:gd name="connsiteY9" fmla="*/ 36472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46490 w 12192000"/>
              <a:gd name="connsiteY5" fmla="*/ 265661 h 6858000"/>
              <a:gd name="connsiteX6" fmla="*/ 10145220 w 12192000"/>
              <a:gd name="connsiteY6" fmla="*/ 1027941 h 6858000"/>
              <a:gd name="connsiteX7" fmla="*/ 11904029 w 12192000"/>
              <a:gd name="connsiteY7" fmla="*/ 1027306 h 6858000"/>
              <a:gd name="connsiteX8" fmla="*/ 11902124 w 12192000"/>
              <a:gd name="connsiteY8" fmla="*/ 267566 h 6858000"/>
              <a:gd name="connsiteX9" fmla="*/ 10146490 w 12192000"/>
              <a:gd name="connsiteY9" fmla="*/ 26566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46490 w 12192000"/>
              <a:gd name="connsiteY5" fmla="*/ 265661 h 6858000"/>
              <a:gd name="connsiteX6" fmla="*/ 10145220 w 12192000"/>
              <a:gd name="connsiteY6" fmla="*/ 1027941 h 6858000"/>
              <a:gd name="connsiteX7" fmla="*/ 11904029 w 12192000"/>
              <a:gd name="connsiteY7" fmla="*/ 1027306 h 6858000"/>
              <a:gd name="connsiteX8" fmla="*/ 11829734 w 12192000"/>
              <a:gd name="connsiteY8" fmla="*/ 351386 h 6858000"/>
              <a:gd name="connsiteX9" fmla="*/ 10146490 w 12192000"/>
              <a:gd name="connsiteY9" fmla="*/ 26566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46490 w 12192000"/>
              <a:gd name="connsiteY5" fmla="*/ 265661 h 6858000"/>
              <a:gd name="connsiteX6" fmla="*/ 10145220 w 12192000"/>
              <a:gd name="connsiteY6" fmla="*/ 1027941 h 6858000"/>
              <a:gd name="connsiteX7" fmla="*/ 11904029 w 12192000"/>
              <a:gd name="connsiteY7" fmla="*/ 1027306 h 6858000"/>
              <a:gd name="connsiteX8" fmla="*/ 11904029 w 12192000"/>
              <a:gd name="connsiteY8" fmla="*/ 265661 h 6858000"/>
              <a:gd name="connsiteX9" fmla="*/ 10146490 w 12192000"/>
              <a:gd name="connsiteY9" fmla="*/ 26566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46490 w 12192000"/>
              <a:gd name="connsiteY5" fmla="*/ 265661 h 6858000"/>
              <a:gd name="connsiteX6" fmla="*/ 10145220 w 12192000"/>
              <a:gd name="connsiteY6" fmla="*/ 1027941 h 6858000"/>
              <a:gd name="connsiteX7" fmla="*/ 11623994 w 12192000"/>
              <a:gd name="connsiteY7" fmla="*/ 924436 h 6858000"/>
              <a:gd name="connsiteX8" fmla="*/ 11904029 w 12192000"/>
              <a:gd name="connsiteY8" fmla="*/ 265661 h 6858000"/>
              <a:gd name="connsiteX9" fmla="*/ 10146490 w 12192000"/>
              <a:gd name="connsiteY9" fmla="*/ 26566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46490 w 12192000"/>
              <a:gd name="connsiteY5" fmla="*/ 265661 h 6858000"/>
              <a:gd name="connsiteX6" fmla="*/ 10145220 w 12192000"/>
              <a:gd name="connsiteY6" fmla="*/ 1027941 h 6858000"/>
              <a:gd name="connsiteX7" fmla="*/ 11904029 w 12192000"/>
              <a:gd name="connsiteY7" fmla="*/ 1025401 h 6858000"/>
              <a:gd name="connsiteX8" fmla="*/ 11904029 w 12192000"/>
              <a:gd name="connsiteY8" fmla="*/ 265661 h 6858000"/>
              <a:gd name="connsiteX9" fmla="*/ 10146490 w 12192000"/>
              <a:gd name="connsiteY9" fmla="*/ 26566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46490 w 12192000"/>
              <a:gd name="connsiteY5" fmla="*/ 265661 h 6858000"/>
              <a:gd name="connsiteX6" fmla="*/ 10206180 w 12192000"/>
              <a:gd name="connsiteY6" fmla="*/ 955551 h 6858000"/>
              <a:gd name="connsiteX7" fmla="*/ 11904029 w 12192000"/>
              <a:gd name="connsiteY7" fmla="*/ 1025401 h 6858000"/>
              <a:gd name="connsiteX8" fmla="*/ 11904029 w 12192000"/>
              <a:gd name="connsiteY8" fmla="*/ 265661 h 6858000"/>
              <a:gd name="connsiteX9" fmla="*/ 10146490 w 12192000"/>
              <a:gd name="connsiteY9" fmla="*/ 26566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46490 w 12192000"/>
              <a:gd name="connsiteY5" fmla="*/ 265661 h 6858000"/>
              <a:gd name="connsiteX6" fmla="*/ 10143315 w 12192000"/>
              <a:gd name="connsiteY6" fmla="*/ 1027941 h 6858000"/>
              <a:gd name="connsiteX7" fmla="*/ 11904029 w 12192000"/>
              <a:gd name="connsiteY7" fmla="*/ 1025401 h 6858000"/>
              <a:gd name="connsiteX8" fmla="*/ 11904029 w 12192000"/>
              <a:gd name="connsiteY8" fmla="*/ 265661 h 6858000"/>
              <a:gd name="connsiteX9" fmla="*/ 10146490 w 12192000"/>
              <a:gd name="connsiteY9" fmla="*/ 26566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46490 w 12192000"/>
              <a:gd name="connsiteY5" fmla="*/ 265661 h 6858000"/>
              <a:gd name="connsiteX6" fmla="*/ 10141410 w 12192000"/>
              <a:gd name="connsiteY6" fmla="*/ 1026036 h 6858000"/>
              <a:gd name="connsiteX7" fmla="*/ 11904029 w 12192000"/>
              <a:gd name="connsiteY7" fmla="*/ 1025401 h 6858000"/>
              <a:gd name="connsiteX8" fmla="*/ 11904029 w 12192000"/>
              <a:gd name="connsiteY8" fmla="*/ 265661 h 6858000"/>
              <a:gd name="connsiteX9" fmla="*/ 10146490 w 12192000"/>
              <a:gd name="connsiteY9" fmla="*/ 26566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46490 w 12192000"/>
              <a:gd name="connsiteY5" fmla="*/ 265661 h 6858000"/>
              <a:gd name="connsiteX6" fmla="*/ 10143315 w 12192000"/>
              <a:gd name="connsiteY6" fmla="*/ 1026036 h 6858000"/>
              <a:gd name="connsiteX7" fmla="*/ 11904029 w 12192000"/>
              <a:gd name="connsiteY7" fmla="*/ 1025401 h 6858000"/>
              <a:gd name="connsiteX8" fmla="*/ 11904029 w 12192000"/>
              <a:gd name="connsiteY8" fmla="*/ 265661 h 6858000"/>
              <a:gd name="connsiteX9" fmla="*/ 10146490 w 12192000"/>
              <a:gd name="connsiteY9" fmla="*/ 26566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260790 w 12192000"/>
              <a:gd name="connsiteY5" fmla="*/ 385676 h 6858000"/>
              <a:gd name="connsiteX6" fmla="*/ 10143315 w 12192000"/>
              <a:gd name="connsiteY6" fmla="*/ 1026036 h 6858000"/>
              <a:gd name="connsiteX7" fmla="*/ 11904029 w 12192000"/>
              <a:gd name="connsiteY7" fmla="*/ 1025401 h 6858000"/>
              <a:gd name="connsiteX8" fmla="*/ 11904029 w 12192000"/>
              <a:gd name="connsiteY8" fmla="*/ 265661 h 6858000"/>
              <a:gd name="connsiteX9" fmla="*/ 10260790 w 12192000"/>
              <a:gd name="connsiteY9" fmla="*/ 38567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46490 w 12192000"/>
              <a:gd name="connsiteY5" fmla="*/ 271376 h 6858000"/>
              <a:gd name="connsiteX6" fmla="*/ 10143315 w 12192000"/>
              <a:gd name="connsiteY6" fmla="*/ 1026036 h 6858000"/>
              <a:gd name="connsiteX7" fmla="*/ 11904029 w 12192000"/>
              <a:gd name="connsiteY7" fmla="*/ 1025401 h 6858000"/>
              <a:gd name="connsiteX8" fmla="*/ 11904029 w 12192000"/>
              <a:gd name="connsiteY8" fmla="*/ 265661 h 6858000"/>
              <a:gd name="connsiteX9" fmla="*/ 10146490 w 12192000"/>
              <a:gd name="connsiteY9" fmla="*/ 27137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46490 w 12192000"/>
              <a:gd name="connsiteY5" fmla="*/ 271376 h 6858000"/>
              <a:gd name="connsiteX6" fmla="*/ 10143315 w 12192000"/>
              <a:gd name="connsiteY6" fmla="*/ 1026036 h 6858000"/>
              <a:gd name="connsiteX7" fmla="*/ 11904029 w 12192000"/>
              <a:gd name="connsiteY7" fmla="*/ 1025401 h 6858000"/>
              <a:gd name="connsiteX8" fmla="*/ 11782109 w 12192000"/>
              <a:gd name="connsiteY8" fmla="*/ 360911 h 6858000"/>
              <a:gd name="connsiteX9" fmla="*/ 10146490 w 12192000"/>
              <a:gd name="connsiteY9" fmla="*/ 27137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46490 w 12192000"/>
              <a:gd name="connsiteY5" fmla="*/ 271376 h 6858000"/>
              <a:gd name="connsiteX6" fmla="*/ 10143315 w 12192000"/>
              <a:gd name="connsiteY6" fmla="*/ 1026036 h 6858000"/>
              <a:gd name="connsiteX7" fmla="*/ 11904029 w 12192000"/>
              <a:gd name="connsiteY7" fmla="*/ 1025401 h 6858000"/>
              <a:gd name="connsiteX8" fmla="*/ 11904029 w 12192000"/>
              <a:gd name="connsiteY8" fmla="*/ 267566 h 6858000"/>
              <a:gd name="connsiteX9" fmla="*/ 10146490 w 12192000"/>
              <a:gd name="connsiteY9" fmla="*/ 27137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46490 w 12192000"/>
              <a:gd name="connsiteY5" fmla="*/ 271376 h 6858000"/>
              <a:gd name="connsiteX6" fmla="*/ 10143315 w 12192000"/>
              <a:gd name="connsiteY6" fmla="*/ 1026036 h 6858000"/>
              <a:gd name="connsiteX7" fmla="*/ 11669714 w 12192000"/>
              <a:gd name="connsiteY7" fmla="*/ 956821 h 6858000"/>
              <a:gd name="connsiteX8" fmla="*/ 11904029 w 12192000"/>
              <a:gd name="connsiteY8" fmla="*/ 267566 h 6858000"/>
              <a:gd name="connsiteX9" fmla="*/ 10146490 w 12192000"/>
              <a:gd name="connsiteY9" fmla="*/ 27137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46490 w 12192000"/>
              <a:gd name="connsiteY5" fmla="*/ 271376 h 6858000"/>
              <a:gd name="connsiteX6" fmla="*/ 10143315 w 12192000"/>
              <a:gd name="connsiteY6" fmla="*/ 1026036 h 6858000"/>
              <a:gd name="connsiteX7" fmla="*/ 11902124 w 12192000"/>
              <a:gd name="connsiteY7" fmla="*/ 1029211 h 6858000"/>
              <a:gd name="connsiteX8" fmla="*/ 11904029 w 12192000"/>
              <a:gd name="connsiteY8" fmla="*/ 267566 h 6858000"/>
              <a:gd name="connsiteX9" fmla="*/ 10146490 w 12192000"/>
              <a:gd name="connsiteY9" fmla="*/ 27137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46490 w 12192000"/>
              <a:gd name="connsiteY5" fmla="*/ 271376 h 6858000"/>
              <a:gd name="connsiteX6" fmla="*/ 10217610 w 12192000"/>
              <a:gd name="connsiteY6" fmla="*/ 963171 h 6858000"/>
              <a:gd name="connsiteX7" fmla="*/ 11902124 w 12192000"/>
              <a:gd name="connsiteY7" fmla="*/ 1029211 h 6858000"/>
              <a:gd name="connsiteX8" fmla="*/ 11904029 w 12192000"/>
              <a:gd name="connsiteY8" fmla="*/ 267566 h 6858000"/>
              <a:gd name="connsiteX9" fmla="*/ 10146490 w 12192000"/>
              <a:gd name="connsiteY9" fmla="*/ 27137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46490 w 12192000"/>
              <a:gd name="connsiteY5" fmla="*/ 271376 h 6858000"/>
              <a:gd name="connsiteX6" fmla="*/ 10143315 w 12192000"/>
              <a:gd name="connsiteY6" fmla="*/ 1026036 h 6858000"/>
              <a:gd name="connsiteX7" fmla="*/ 11902124 w 12192000"/>
              <a:gd name="connsiteY7" fmla="*/ 1029211 h 6858000"/>
              <a:gd name="connsiteX8" fmla="*/ 11904029 w 12192000"/>
              <a:gd name="connsiteY8" fmla="*/ 267566 h 6858000"/>
              <a:gd name="connsiteX9" fmla="*/ 10146490 w 12192000"/>
              <a:gd name="connsiteY9" fmla="*/ 27137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46490 w 12192000"/>
              <a:gd name="connsiteY5" fmla="*/ 271376 h 6858000"/>
              <a:gd name="connsiteX6" fmla="*/ 10143315 w 12192000"/>
              <a:gd name="connsiteY6" fmla="*/ 1026036 h 6858000"/>
              <a:gd name="connsiteX7" fmla="*/ 11904029 w 12192000"/>
              <a:gd name="connsiteY7" fmla="*/ 1027306 h 6858000"/>
              <a:gd name="connsiteX8" fmla="*/ 11904029 w 12192000"/>
              <a:gd name="connsiteY8" fmla="*/ 267566 h 6858000"/>
              <a:gd name="connsiteX9" fmla="*/ 10146490 w 12192000"/>
              <a:gd name="connsiteY9" fmla="*/ 27137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44585 w 12192000"/>
              <a:gd name="connsiteY5" fmla="*/ 269471 h 6858000"/>
              <a:gd name="connsiteX6" fmla="*/ 10143315 w 12192000"/>
              <a:gd name="connsiteY6" fmla="*/ 1026036 h 6858000"/>
              <a:gd name="connsiteX7" fmla="*/ 11904029 w 12192000"/>
              <a:gd name="connsiteY7" fmla="*/ 1027306 h 6858000"/>
              <a:gd name="connsiteX8" fmla="*/ 11904029 w 12192000"/>
              <a:gd name="connsiteY8" fmla="*/ 267566 h 6858000"/>
              <a:gd name="connsiteX9" fmla="*/ 10144585 w 12192000"/>
              <a:gd name="connsiteY9" fmla="*/ 26947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44585 w 12192000"/>
              <a:gd name="connsiteY5" fmla="*/ 269471 h 6858000"/>
              <a:gd name="connsiteX6" fmla="*/ 10143315 w 12192000"/>
              <a:gd name="connsiteY6" fmla="*/ 1026036 h 6858000"/>
              <a:gd name="connsiteX7" fmla="*/ 11904029 w 12192000"/>
              <a:gd name="connsiteY7" fmla="*/ 1027306 h 6858000"/>
              <a:gd name="connsiteX8" fmla="*/ 11902124 w 12192000"/>
              <a:gd name="connsiteY8" fmla="*/ 269471 h 6858000"/>
              <a:gd name="connsiteX9" fmla="*/ 10144585 w 12192000"/>
              <a:gd name="connsiteY9" fmla="*/ 26947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44585 w 12192000"/>
              <a:gd name="connsiteY5" fmla="*/ 269471 h 6858000"/>
              <a:gd name="connsiteX6" fmla="*/ 10143315 w 12192000"/>
              <a:gd name="connsiteY6" fmla="*/ 1026036 h 6858000"/>
              <a:gd name="connsiteX7" fmla="*/ 11902124 w 12192000"/>
              <a:gd name="connsiteY7" fmla="*/ 1025401 h 6858000"/>
              <a:gd name="connsiteX8" fmla="*/ 11902124 w 12192000"/>
              <a:gd name="connsiteY8" fmla="*/ 269471 h 6858000"/>
              <a:gd name="connsiteX9" fmla="*/ 10144585 w 12192000"/>
              <a:gd name="connsiteY9" fmla="*/ 26947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44585 w 12192000"/>
              <a:gd name="connsiteY5" fmla="*/ 269471 h 6858000"/>
              <a:gd name="connsiteX6" fmla="*/ 10147125 w 12192000"/>
              <a:gd name="connsiteY6" fmla="*/ 1026036 h 6858000"/>
              <a:gd name="connsiteX7" fmla="*/ 11902124 w 12192000"/>
              <a:gd name="connsiteY7" fmla="*/ 1025401 h 6858000"/>
              <a:gd name="connsiteX8" fmla="*/ 11902124 w 12192000"/>
              <a:gd name="connsiteY8" fmla="*/ 269471 h 6858000"/>
              <a:gd name="connsiteX9" fmla="*/ 10144585 w 12192000"/>
              <a:gd name="connsiteY9" fmla="*/ 26947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44585 w 12192000"/>
              <a:gd name="connsiteY5" fmla="*/ 269471 h 6858000"/>
              <a:gd name="connsiteX6" fmla="*/ 10297620 w 12192000"/>
              <a:gd name="connsiteY6" fmla="*/ 885066 h 6858000"/>
              <a:gd name="connsiteX7" fmla="*/ 11902124 w 12192000"/>
              <a:gd name="connsiteY7" fmla="*/ 1025401 h 6858000"/>
              <a:gd name="connsiteX8" fmla="*/ 11902124 w 12192000"/>
              <a:gd name="connsiteY8" fmla="*/ 269471 h 6858000"/>
              <a:gd name="connsiteX9" fmla="*/ 10144585 w 12192000"/>
              <a:gd name="connsiteY9" fmla="*/ 26947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44585 w 12192000"/>
              <a:gd name="connsiteY5" fmla="*/ 269471 h 6858000"/>
              <a:gd name="connsiteX6" fmla="*/ 10147125 w 12192000"/>
              <a:gd name="connsiteY6" fmla="*/ 1029846 h 6858000"/>
              <a:gd name="connsiteX7" fmla="*/ 11902124 w 12192000"/>
              <a:gd name="connsiteY7" fmla="*/ 1025401 h 6858000"/>
              <a:gd name="connsiteX8" fmla="*/ 11902124 w 12192000"/>
              <a:gd name="connsiteY8" fmla="*/ 269471 h 6858000"/>
              <a:gd name="connsiteX9" fmla="*/ 10144585 w 12192000"/>
              <a:gd name="connsiteY9" fmla="*/ 26947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44585 w 12192000"/>
              <a:gd name="connsiteY5" fmla="*/ 269471 h 6858000"/>
              <a:gd name="connsiteX6" fmla="*/ 10349055 w 12192000"/>
              <a:gd name="connsiteY6" fmla="*/ 875541 h 6858000"/>
              <a:gd name="connsiteX7" fmla="*/ 11902124 w 12192000"/>
              <a:gd name="connsiteY7" fmla="*/ 1025401 h 6858000"/>
              <a:gd name="connsiteX8" fmla="*/ 11902124 w 12192000"/>
              <a:gd name="connsiteY8" fmla="*/ 269471 h 6858000"/>
              <a:gd name="connsiteX9" fmla="*/ 10144585 w 12192000"/>
              <a:gd name="connsiteY9" fmla="*/ 26947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44585 w 12192000"/>
              <a:gd name="connsiteY5" fmla="*/ 269471 h 6858000"/>
              <a:gd name="connsiteX6" fmla="*/ 10143315 w 12192000"/>
              <a:gd name="connsiteY6" fmla="*/ 1027941 h 6858000"/>
              <a:gd name="connsiteX7" fmla="*/ 11902124 w 12192000"/>
              <a:gd name="connsiteY7" fmla="*/ 1025401 h 6858000"/>
              <a:gd name="connsiteX8" fmla="*/ 11902124 w 12192000"/>
              <a:gd name="connsiteY8" fmla="*/ 269471 h 6858000"/>
              <a:gd name="connsiteX9" fmla="*/ 10144585 w 12192000"/>
              <a:gd name="connsiteY9" fmla="*/ 26947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44585 w 12192000"/>
              <a:gd name="connsiteY5" fmla="*/ 269471 h 6858000"/>
              <a:gd name="connsiteX6" fmla="*/ 10143315 w 12192000"/>
              <a:gd name="connsiteY6" fmla="*/ 1027941 h 6858000"/>
              <a:gd name="connsiteX7" fmla="*/ 11902124 w 12192000"/>
              <a:gd name="connsiteY7" fmla="*/ 1025401 h 6858000"/>
              <a:gd name="connsiteX8" fmla="*/ 11625899 w 12192000"/>
              <a:gd name="connsiteY8" fmla="*/ 412346 h 6858000"/>
              <a:gd name="connsiteX9" fmla="*/ 10144585 w 12192000"/>
              <a:gd name="connsiteY9" fmla="*/ 26947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44585 w 12192000"/>
              <a:gd name="connsiteY5" fmla="*/ 269471 h 6858000"/>
              <a:gd name="connsiteX6" fmla="*/ 10143315 w 12192000"/>
              <a:gd name="connsiteY6" fmla="*/ 1027941 h 6858000"/>
              <a:gd name="connsiteX7" fmla="*/ 11902124 w 12192000"/>
              <a:gd name="connsiteY7" fmla="*/ 1025401 h 6858000"/>
              <a:gd name="connsiteX8" fmla="*/ 11902124 w 12192000"/>
              <a:gd name="connsiteY8" fmla="*/ 269471 h 6858000"/>
              <a:gd name="connsiteX9" fmla="*/ 10144585 w 12192000"/>
              <a:gd name="connsiteY9" fmla="*/ 26947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376995 w 12192000"/>
              <a:gd name="connsiteY5" fmla="*/ 440921 h 6858000"/>
              <a:gd name="connsiteX6" fmla="*/ 10143315 w 12192000"/>
              <a:gd name="connsiteY6" fmla="*/ 1027941 h 6858000"/>
              <a:gd name="connsiteX7" fmla="*/ 11902124 w 12192000"/>
              <a:gd name="connsiteY7" fmla="*/ 1025401 h 6858000"/>
              <a:gd name="connsiteX8" fmla="*/ 11902124 w 12192000"/>
              <a:gd name="connsiteY8" fmla="*/ 269471 h 6858000"/>
              <a:gd name="connsiteX9" fmla="*/ 10376995 w 12192000"/>
              <a:gd name="connsiteY9" fmla="*/ 44092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46490 w 12192000"/>
              <a:gd name="connsiteY5" fmla="*/ 267566 h 6858000"/>
              <a:gd name="connsiteX6" fmla="*/ 10143315 w 12192000"/>
              <a:gd name="connsiteY6" fmla="*/ 1027941 h 6858000"/>
              <a:gd name="connsiteX7" fmla="*/ 11902124 w 12192000"/>
              <a:gd name="connsiteY7" fmla="*/ 1025401 h 6858000"/>
              <a:gd name="connsiteX8" fmla="*/ 11902124 w 12192000"/>
              <a:gd name="connsiteY8" fmla="*/ 269471 h 6858000"/>
              <a:gd name="connsiteX9" fmla="*/ 10146490 w 12192000"/>
              <a:gd name="connsiteY9" fmla="*/ 26756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46490 w 12192000"/>
              <a:gd name="connsiteY5" fmla="*/ 267566 h 6858000"/>
              <a:gd name="connsiteX6" fmla="*/ 10143315 w 12192000"/>
              <a:gd name="connsiteY6" fmla="*/ 1027941 h 6858000"/>
              <a:gd name="connsiteX7" fmla="*/ 11902124 w 12192000"/>
              <a:gd name="connsiteY7" fmla="*/ 1025401 h 6858000"/>
              <a:gd name="connsiteX8" fmla="*/ 11900219 w 12192000"/>
              <a:gd name="connsiteY8" fmla="*/ 267566 h 6858000"/>
              <a:gd name="connsiteX9" fmla="*/ 10146490 w 12192000"/>
              <a:gd name="connsiteY9" fmla="*/ 26756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46490 w 12192000"/>
              <a:gd name="connsiteY5" fmla="*/ 267566 h 6858000"/>
              <a:gd name="connsiteX6" fmla="*/ 10143315 w 12192000"/>
              <a:gd name="connsiteY6" fmla="*/ 1027941 h 6858000"/>
              <a:gd name="connsiteX7" fmla="*/ 11902124 w 12192000"/>
              <a:gd name="connsiteY7" fmla="*/ 1025401 h 6858000"/>
              <a:gd name="connsiteX8" fmla="*/ 11904029 w 12192000"/>
              <a:gd name="connsiteY8" fmla="*/ 267566 h 6858000"/>
              <a:gd name="connsiteX9" fmla="*/ 10146490 w 12192000"/>
              <a:gd name="connsiteY9" fmla="*/ 26756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46490 w 12192000"/>
              <a:gd name="connsiteY5" fmla="*/ 267566 h 6858000"/>
              <a:gd name="connsiteX6" fmla="*/ 10149030 w 12192000"/>
              <a:gd name="connsiteY6" fmla="*/ 1026036 h 6858000"/>
              <a:gd name="connsiteX7" fmla="*/ 11902124 w 12192000"/>
              <a:gd name="connsiteY7" fmla="*/ 1025401 h 6858000"/>
              <a:gd name="connsiteX8" fmla="*/ 11904029 w 12192000"/>
              <a:gd name="connsiteY8" fmla="*/ 267566 h 6858000"/>
              <a:gd name="connsiteX9" fmla="*/ 10146490 w 12192000"/>
              <a:gd name="connsiteY9" fmla="*/ 26756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46490 w 12192000"/>
              <a:gd name="connsiteY5" fmla="*/ 267566 h 6858000"/>
              <a:gd name="connsiteX6" fmla="*/ 10145220 w 12192000"/>
              <a:gd name="connsiteY6" fmla="*/ 1026036 h 6858000"/>
              <a:gd name="connsiteX7" fmla="*/ 11902124 w 12192000"/>
              <a:gd name="connsiteY7" fmla="*/ 1025401 h 6858000"/>
              <a:gd name="connsiteX8" fmla="*/ 11904029 w 12192000"/>
              <a:gd name="connsiteY8" fmla="*/ 267566 h 6858000"/>
              <a:gd name="connsiteX9" fmla="*/ 10146490 w 12192000"/>
              <a:gd name="connsiteY9" fmla="*/ 26756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192000" h="6858000">
                <a:moveTo>
                  <a:pt x="489966" y="6280287"/>
                </a:moveTo>
                <a:lnTo>
                  <a:pt x="488061" y="6386217"/>
                </a:lnTo>
                <a:lnTo>
                  <a:pt x="951870" y="6386217"/>
                </a:lnTo>
                <a:lnTo>
                  <a:pt x="951870" y="6280287"/>
                </a:lnTo>
                <a:lnTo>
                  <a:pt x="489966" y="6280287"/>
                </a:lnTo>
                <a:close/>
                <a:moveTo>
                  <a:pt x="10146490" y="267566"/>
                </a:moveTo>
                <a:cubicBezTo>
                  <a:pt x="10144797" y="526104"/>
                  <a:pt x="10146913" y="767498"/>
                  <a:pt x="10145220" y="1026036"/>
                </a:cubicBezTo>
                <a:lnTo>
                  <a:pt x="11902124" y="1025401"/>
                </a:lnTo>
                <a:lnTo>
                  <a:pt x="11904029" y="267566"/>
                </a:lnTo>
                <a:lnTo>
                  <a:pt x="10146490" y="267566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B2BCC63D-764D-453B-B95D-B53E771DF12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9425" y="4834859"/>
            <a:ext cx="7812088" cy="1336071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>
            <a:lvl1pPr marL="0" indent="0">
              <a:buNone/>
              <a:tabLst>
                <a:tab pos="1074738" algn="l"/>
              </a:tabLst>
              <a:defRPr lang="de-DE" sz="4800" b="1" cap="all" baseline="0" smtClean="0">
                <a:solidFill>
                  <a:schemeClr val="bg1"/>
                </a:solidFill>
                <a:latin typeface="STIHL Contraface Display Title" panose="02000600040000020004" pitchFamily="50" charset="0"/>
              </a:defRPr>
            </a:lvl1pPr>
            <a:lvl2pPr marL="277812" indent="0">
              <a:buNone/>
              <a:defRPr lang="de-DE" smtClean="0"/>
            </a:lvl2pPr>
            <a:lvl3pPr marL="739775" indent="0">
              <a:buNone/>
              <a:defRPr lang="de-DE" sz="1800" smtClean="0"/>
            </a:lvl3pPr>
            <a:lvl4pPr marL="1190625" indent="0">
              <a:buNone/>
              <a:defRPr lang="de-DE" sz="1800" smtClean="0"/>
            </a:lvl4pPr>
            <a:lvl5pPr marL="1647825" indent="0">
              <a:buNone/>
              <a:defRPr lang="de-DE" sz="1800"/>
            </a:lvl5pPr>
          </a:lstStyle>
          <a:p>
            <a:pPr marL="0" lvl="0"/>
            <a:r>
              <a:rPr lang="de-DE" dirty="0"/>
              <a:t>Abschlussworte (vielen Dank)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2C6085ED-8EF3-4C74-9B9D-7804FC5FAEA1}"/>
              </a:ext>
            </a:extLst>
          </p:cNvPr>
          <p:cNvSpPr/>
          <p:nvPr userDrawn="1"/>
        </p:nvSpPr>
        <p:spPr>
          <a:xfrm>
            <a:off x="495191" y="6283982"/>
            <a:ext cx="450741" cy="9459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de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5CF86407-DA27-4CA6-A346-F8477F884E96}"/>
              </a:ext>
            </a:extLst>
          </p:cNvPr>
          <p:cNvSpPr>
            <a:spLocks/>
          </p:cNvSpPr>
          <p:nvPr userDrawn="1"/>
        </p:nvSpPr>
        <p:spPr>
          <a:xfrm>
            <a:off x="-1939923" y="2913099"/>
            <a:ext cx="1772284" cy="1031803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spAutoFit/>
          </a:bodyPr>
          <a:lstStyle/>
          <a:p>
            <a:pPr algn="ctr">
              <a:lnSpc>
                <a:spcPct val="90000"/>
              </a:lnSpc>
            </a:pPr>
            <a:r>
              <a:rPr lang="de-DE" sz="1600" b="0" dirty="0">
                <a:solidFill>
                  <a:schemeClr val="tx1"/>
                </a:solidFill>
              </a:rPr>
              <a:t>Bitte keine Folien mit vollflächigen Farben oder Motiven drucken </a:t>
            </a: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6061" y="258750"/>
            <a:ext cx="1774212" cy="7756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48157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70" imgH="371" progId="TCLayout.ActiveDocument.1">
                  <p:embed/>
                </p:oleObj>
              </mc:Choice>
              <mc:Fallback>
                <p:oleObj name="think-cell Folie" r:id="rId4" imgW="370" imgH="37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4800" b="1" i="0" baseline="0" dirty="0">
              <a:solidFill>
                <a:schemeClr val="tx1"/>
              </a:solidFill>
              <a:latin typeface="STIHL Contraface Display Title"/>
              <a:ea typeface="+mn-ea"/>
              <a:cs typeface="+mn-cs"/>
              <a:sym typeface="STIHL Contraface Display Title"/>
            </a:endParaRPr>
          </a:p>
        </p:txBody>
      </p:sp>
      <p:sp>
        <p:nvSpPr>
          <p:cNvPr id="11" name="Subline">
            <a:extLst>
              <a:ext uri="{FF2B5EF4-FFF2-40B4-BE49-F238E27FC236}">
                <a16:creationId xmlns:a16="http://schemas.microsoft.com/office/drawing/2014/main" id="{93378434-A597-4F7F-B029-ECD35EA41BC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1500" y="5706830"/>
            <a:ext cx="8640000" cy="216000"/>
          </a:xfrm>
          <a:prstGeom prst="rect">
            <a:avLst/>
          </a:prstGeom>
        </p:spPr>
        <p:txBody>
          <a:bodyPr lIns="0" rIns="0" anchor="b" anchorCtr="0">
            <a:noAutofit/>
          </a:bodyPr>
          <a:lstStyle>
            <a:lvl1pPr marL="0" indent="0">
              <a:buNone/>
              <a:defRPr sz="1800" b="1" cap="none" baseline="0">
                <a:latin typeface="+mj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12" name="Name">
            <a:extLst>
              <a:ext uri="{FF2B5EF4-FFF2-40B4-BE49-F238E27FC236}">
                <a16:creationId xmlns:a16="http://schemas.microsoft.com/office/drawing/2014/main" id="{78096696-CF0D-4E90-AD93-F265006F555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1500" y="6049289"/>
            <a:ext cx="8640000" cy="216000"/>
          </a:xfrm>
          <a:prstGeom prst="rect">
            <a:avLst/>
          </a:prstGeom>
        </p:spPr>
        <p:txBody>
          <a:bodyPr lIns="0" rIns="0" anchor="t" anchorCtr="0">
            <a:noAutofit/>
          </a:bodyPr>
          <a:lstStyle>
            <a:lvl1pPr marL="0" indent="0">
              <a:buNone/>
              <a:defRPr sz="1800" cap="none" baseline="0">
                <a:latin typeface="+mn-lt"/>
              </a:defRPr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9" name="Datum">
            <a:extLst>
              <a:ext uri="{FF2B5EF4-FFF2-40B4-BE49-F238E27FC236}">
                <a16:creationId xmlns:a16="http://schemas.microsoft.com/office/drawing/2014/main" id="{93CE0D43-2D94-4A12-94F6-C940A9EBB10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1500" y="6283748"/>
            <a:ext cx="8640000" cy="216000"/>
          </a:xfrm>
          <a:prstGeom prst="rect">
            <a:avLst/>
          </a:prstGeom>
        </p:spPr>
        <p:txBody>
          <a:bodyPr lIns="0" rIns="0" anchor="t" anchorCtr="0">
            <a:noAutofit/>
          </a:bodyPr>
          <a:lstStyle>
            <a:lvl1pPr marL="0" indent="0">
              <a:buNone/>
              <a:defRPr sz="1800" cap="none" baseline="0">
                <a:latin typeface="+mn-lt"/>
              </a:defRPr>
            </a:lvl1pPr>
          </a:lstStyle>
          <a:p>
            <a:pPr lvl="0"/>
            <a:r>
              <a:rPr lang="de-DE" dirty="0"/>
              <a:t>Datum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30262" y="502821"/>
            <a:ext cx="1385810" cy="287488"/>
          </a:xfrm>
          <a:prstGeom prst="rect">
            <a:avLst/>
          </a:prstGeom>
        </p:spPr>
      </p:pic>
      <p:sp>
        <p:nvSpPr>
          <p:cNvPr id="13" name="Textplatzhalter 13"/>
          <p:cNvSpPr>
            <a:spLocks noGrp="1"/>
          </p:cNvSpPr>
          <p:nvPr>
            <p:ph type="body" sz="quarter" idx="18" hasCustomPrompt="1"/>
          </p:nvPr>
        </p:nvSpPr>
        <p:spPr>
          <a:xfrm>
            <a:off x="571500" y="2113200"/>
            <a:ext cx="8640000" cy="3240000"/>
          </a:xfrm>
        </p:spPr>
        <p:txBody>
          <a:bodyPr lIns="288000" tIns="288000" rIns="288000" bIns="288000"/>
          <a:lstStyle>
            <a:lvl1pPr>
              <a:spcAft>
                <a:spcPts val="0"/>
              </a:spcAft>
              <a:defRPr sz="4800">
                <a:latin typeface="STIHL Contraface Display Title" pitchFamily="50" charset="0"/>
              </a:defRPr>
            </a:lvl1pPr>
            <a:lvl2pPr>
              <a:spcAft>
                <a:spcPts val="0"/>
              </a:spcAft>
              <a:defRPr>
                <a:latin typeface="STIHL Contraface Display Title" pitchFamily="50" charset="0"/>
              </a:defRPr>
            </a:lvl2pPr>
            <a:lvl3pPr>
              <a:spcAft>
                <a:spcPts val="0"/>
              </a:spcAft>
              <a:defRPr>
                <a:latin typeface="STIHL Contraface Display Title" pitchFamily="50" charset="0"/>
              </a:defRPr>
            </a:lvl3pPr>
            <a:lvl4pPr>
              <a:spcAft>
                <a:spcPts val="0"/>
              </a:spcAft>
              <a:defRPr>
                <a:latin typeface="STIHL Contraface Display Title" pitchFamily="50" charset="0"/>
              </a:defRPr>
            </a:lvl4pPr>
            <a:lvl5pPr>
              <a:spcAft>
                <a:spcPts val="0"/>
              </a:spcAft>
              <a:defRPr>
                <a:latin typeface="STIHL Contraface Display Title" pitchFamily="50" charset="0"/>
              </a:defRPr>
            </a:lvl5pPr>
          </a:lstStyle>
          <a:p>
            <a:pPr lvl="0"/>
            <a:r>
              <a:rPr lang="de-DE" dirty="0"/>
              <a:t>Mastertitelformat bearbeiten</a:t>
            </a:r>
            <a:br>
              <a:rPr lang="de-DE" dirty="0"/>
            </a:br>
            <a:r>
              <a:rPr lang="de-DE" dirty="0"/>
              <a:t>ƒ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5CF86407-DA27-4CA6-A346-F8477F884E96}"/>
              </a:ext>
            </a:extLst>
          </p:cNvPr>
          <p:cNvSpPr>
            <a:spLocks/>
          </p:cNvSpPr>
          <p:nvPr userDrawn="1"/>
        </p:nvSpPr>
        <p:spPr>
          <a:xfrm>
            <a:off x="-1943099" y="4254839"/>
            <a:ext cx="1772284" cy="16966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72000" rIns="72000" bIns="72000" rtlCol="0" anchor="ctr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de-DE" sz="1600" b="0" dirty="0">
                <a:solidFill>
                  <a:schemeClr val="tx1"/>
                </a:solidFill>
              </a:rPr>
              <a:t>Einfügen des Unterstrichs nach der Headline über den Nummern-block und die Tastenkombination „Alt + 0131“</a:t>
            </a:r>
          </a:p>
        </p:txBody>
      </p:sp>
    </p:spTree>
    <p:extLst>
      <p:ext uri="{BB962C8B-B14F-4D97-AF65-F5344CB8AC3E}">
        <p14:creationId xmlns:p14="http://schemas.microsoft.com/office/powerpoint/2010/main" val="31490249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25DBC705-8149-459E-9D73-71848E406B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08" imgH="408" progId="TCLayout.ActiveDocument.1">
                  <p:embed/>
                </p:oleObj>
              </mc:Choice>
              <mc:Fallback>
                <p:oleObj name="think-cell Folie" r:id="rId4" imgW="408" imgH="408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25DBC705-8149-459E-9D73-71848E406B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39010A7A-64D4-40B1-96E7-BCEEBB7E8A3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2200" b="1" i="0" baseline="0" dirty="0">
              <a:solidFill>
                <a:schemeClr val="tx1"/>
              </a:solidFill>
              <a:latin typeface="STIHL Contraface Text"/>
              <a:ea typeface="+mj-ea"/>
              <a:cs typeface="+mj-cs"/>
              <a:sym typeface="STIHL Contraface Text"/>
            </a:endParaRP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DE73F636-8F03-4538-831F-37B264F004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1130300"/>
            <a:ext cx="11233147" cy="249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>
              <a:lnSpc>
                <a:spcPct val="90000"/>
              </a:lnSpc>
              <a:buNone/>
              <a:defRPr lang="de-DE" sz="1800" cap="none" baseline="0" dirty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114300" lvl="0" indent="-342900">
              <a:spcBef>
                <a:spcPct val="0"/>
              </a:spcBef>
            </a:pPr>
            <a:r>
              <a:rPr lang="de-DE" dirty="0"/>
              <a:t>Subheadline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753CF0BC-3DA6-4688-820F-374B0CB9CA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6" y="503546"/>
            <a:ext cx="9579925" cy="304699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2200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sz="quarter" idx="14" hasCustomPrompt="1"/>
          </p:nvPr>
        </p:nvSpPr>
        <p:spPr>
          <a:xfrm>
            <a:off x="479426" y="1603375"/>
            <a:ext cx="11233147" cy="4851399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2681427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F0605A64-2B63-413A-A26B-43B30D7712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08" imgH="408" progId="TCLayout.ActiveDocument.1">
                  <p:embed/>
                </p:oleObj>
              </mc:Choice>
              <mc:Fallback>
                <p:oleObj name="think-cell Folie" r:id="rId4" imgW="408" imgH="40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F0605A64-2B63-413A-A26B-43B30D7712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00416A2A-8426-4273-BB96-478B6314705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2200" b="1" i="0" baseline="0" dirty="0">
              <a:solidFill>
                <a:schemeClr val="tx1"/>
              </a:solidFill>
              <a:latin typeface="STIHL Contraface Text"/>
              <a:ea typeface="+mj-ea"/>
              <a:cs typeface="+mj-cs"/>
              <a:sym typeface="STIHL Contraface Text"/>
            </a:endParaRP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F490E706-F8A4-4052-9AE3-BC93A228C9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6" y="503546"/>
            <a:ext cx="9579925" cy="304699"/>
          </a:xfrm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lang="de-DE" sz="2200" dirty="0"/>
            </a:lvl1pPr>
          </a:lstStyle>
          <a:p>
            <a:pPr lvl="0"/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C20E754-BBFE-4A95-AA44-67ACDA85C71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1130300"/>
            <a:ext cx="11233147" cy="249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>
              <a:lnSpc>
                <a:spcPct val="90000"/>
              </a:lnSpc>
              <a:buNone/>
              <a:defRPr lang="de-DE" sz="1800" cap="none" baseline="0" dirty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114300" lvl="0" indent="-342900">
              <a:spcBef>
                <a:spcPct val="0"/>
              </a:spcBef>
            </a:pPr>
            <a:r>
              <a:rPr lang="de-DE" dirty="0"/>
              <a:t>Subheadline</a:t>
            </a:r>
          </a:p>
        </p:txBody>
      </p:sp>
    </p:spTree>
    <p:extLst>
      <p:ext uri="{BB962C8B-B14F-4D97-AF65-F5344CB8AC3E}">
        <p14:creationId xmlns:p14="http://schemas.microsoft.com/office/powerpoint/2010/main" val="27658937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08ED5069-7E91-48C5-95E3-99F57E1765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08" imgH="408" progId="TCLayout.ActiveDocument.1">
                  <p:embed/>
                </p:oleObj>
              </mc:Choice>
              <mc:Fallback>
                <p:oleObj name="think-cell Folie" r:id="rId4" imgW="408" imgH="40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08ED5069-7E91-48C5-95E3-99F57E1765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B2A3BD8A-6CFF-48E0-A155-11F4B2BBD55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2200" b="1" i="0" baseline="0" dirty="0">
              <a:solidFill>
                <a:schemeClr val="tx1"/>
              </a:solidFill>
              <a:latin typeface="STIHL Contraface Text"/>
              <a:ea typeface="+mj-ea"/>
              <a:cs typeface="+mj-cs"/>
              <a:sym typeface="STIHL Contraface Text"/>
            </a:endParaRPr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26E03A4-095B-410D-BCF8-3F189668F8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6" y="503546"/>
            <a:ext cx="9579925" cy="304699"/>
          </a:xfrm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lang="de-DE" sz="2200" dirty="0"/>
            </a:lvl1pPr>
          </a:lstStyle>
          <a:p>
            <a:pPr lvl="0"/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2EA80287-A2C9-4521-95F7-BFAC821FCA0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7" y="1130300"/>
            <a:ext cx="11233147" cy="249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>
              <a:lnSpc>
                <a:spcPct val="90000"/>
              </a:lnSpc>
              <a:buNone/>
              <a:defRPr lang="de-DE" sz="1800" cap="none" baseline="0" dirty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114300" lvl="0" indent="-342900">
              <a:spcBef>
                <a:spcPct val="0"/>
              </a:spcBef>
            </a:pPr>
            <a:r>
              <a:rPr lang="de-DE" dirty="0"/>
              <a:t>Subheadli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5" hasCustomPrompt="1"/>
          </p:nvPr>
        </p:nvSpPr>
        <p:spPr>
          <a:xfrm>
            <a:off x="479427" y="1605307"/>
            <a:ext cx="11233147" cy="4849340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8701604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653AC16-B8BF-4F06-9847-410FBD6611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08" imgH="408" progId="TCLayout.ActiveDocument.1">
                  <p:embed/>
                </p:oleObj>
              </mc:Choice>
              <mc:Fallback>
                <p:oleObj name="think-cell Folie" r:id="rId4" imgW="408" imgH="40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653AC16-B8BF-4F06-9847-410FBD6611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D21E1F63-0E73-4BE0-AB62-ECF4E2E15BF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2200" b="1" i="0" baseline="0" dirty="0">
              <a:solidFill>
                <a:schemeClr val="tx1"/>
              </a:solidFill>
              <a:latin typeface="STIHL Contraface Text"/>
              <a:ea typeface="+mj-ea"/>
              <a:cs typeface="+mj-cs"/>
              <a:sym typeface="STIHL Contraface Text"/>
            </a:endParaRPr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26E03A4-095B-410D-BCF8-3F189668F8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6" y="503546"/>
            <a:ext cx="9579925" cy="304699"/>
          </a:xfrm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lang="de-DE" sz="2200" dirty="0"/>
            </a:lvl1pPr>
          </a:lstStyle>
          <a:p>
            <a:pPr lvl="0"/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3" name="Textplatzhalter 8">
            <a:extLst>
              <a:ext uri="{FF2B5EF4-FFF2-40B4-BE49-F238E27FC236}">
                <a16:creationId xmlns:a16="http://schemas.microsoft.com/office/drawing/2014/main" id="{6DBC4AB2-2C37-4DD5-89D1-6E82832F27B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7" y="1130300"/>
            <a:ext cx="11233147" cy="249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>
              <a:lnSpc>
                <a:spcPct val="90000"/>
              </a:lnSpc>
              <a:buNone/>
              <a:defRPr lang="de-DE" sz="1800" cap="none" baseline="0" dirty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114300" lvl="0" indent="-342900">
              <a:spcBef>
                <a:spcPct val="0"/>
              </a:spcBef>
            </a:pPr>
            <a:r>
              <a:rPr lang="de-DE" dirty="0"/>
              <a:t>Subheadline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21" hasCustomPrompt="1"/>
          </p:nvPr>
        </p:nvSpPr>
        <p:spPr>
          <a:xfrm>
            <a:off x="479426" y="1605307"/>
            <a:ext cx="5384330" cy="4849340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2" name="Inhaltsplatzhalter 4"/>
          <p:cNvSpPr>
            <a:spLocks noGrp="1"/>
          </p:cNvSpPr>
          <p:nvPr>
            <p:ph sz="quarter" idx="22" hasCustomPrompt="1"/>
          </p:nvPr>
        </p:nvSpPr>
        <p:spPr>
          <a:xfrm>
            <a:off x="6328244" y="1605307"/>
            <a:ext cx="5384330" cy="4849340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46623289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intergrundbild mit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70" imgH="371" progId="TCLayout.ActiveDocument.1">
                  <p:embed/>
                </p:oleObj>
              </mc:Choice>
              <mc:Fallback>
                <p:oleObj name="think-cell Folie" r:id="rId4" imgW="370" imgH="37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2200" b="1" i="0" baseline="0" dirty="0">
              <a:solidFill>
                <a:schemeClr val="tx1"/>
              </a:solidFill>
              <a:latin typeface="STIHL Contraface Text"/>
              <a:ea typeface="+mn-ea"/>
              <a:cs typeface="+mn-cs"/>
              <a:sym typeface="STIHL Contraface Text"/>
            </a:endParaRPr>
          </a:p>
        </p:txBody>
      </p:sp>
      <p:sp>
        <p:nvSpPr>
          <p:cNvPr id="17" name="Hintergrundbild">
            <a:extLst>
              <a:ext uri="{FF2B5EF4-FFF2-40B4-BE49-F238E27FC236}">
                <a16:creationId xmlns:a16="http://schemas.microsoft.com/office/drawing/2014/main" id="{91303CF3-1A7E-4149-A9A1-BC9B75037D6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361950 w 12192000"/>
              <a:gd name="connsiteY0" fmla="*/ 344402 h 6858000"/>
              <a:gd name="connsiteX1" fmla="*/ 361950 w 12192000"/>
              <a:gd name="connsiteY1" fmla="*/ 6536402 h 6858000"/>
              <a:gd name="connsiteX2" fmla="*/ 5401950 w 12192000"/>
              <a:gd name="connsiteY2" fmla="*/ 6536402 h 6858000"/>
              <a:gd name="connsiteX3" fmla="*/ 5401950 w 12192000"/>
              <a:gd name="connsiteY3" fmla="*/ 344402 h 6858000"/>
              <a:gd name="connsiteX4" fmla="*/ 10129345 w 12192000"/>
              <a:gd name="connsiteY4" fmla="*/ 344401 h 6858000"/>
              <a:gd name="connsiteX5" fmla="*/ 10129345 w 12192000"/>
              <a:gd name="connsiteY5" fmla="*/ 1099696 h 6858000"/>
              <a:gd name="connsiteX6" fmla="*/ 11857039 w 12192000"/>
              <a:gd name="connsiteY6" fmla="*/ 1099696 h 6858000"/>
              <a:gd name="connsiteX7" fmla="*/ 11857039 w 12192000"/>
              <a:gd name="connsiteY7" fmla="*/ 344401 h 6858000"/>
              <a:gd name="connsiteX8" fmla="*/ 0 w 12192000"/>
              <a:gd name="connsiteY8" fmla="*/ 0 h 6858000"/>
              <a:gd name="connsiteX9" fmla="*/ 12192000 w 12192000"/>
              <a:gd name="connsiteY9" fmla="*/ 0 h 6858000"/>
              <a:gd name="connsiteX10" fmla="*/ 12192000 w 12192000"/>
              <a:gd name="connsiteY10" fmla="*/ 6858000 h 6858000"/>
              <a:gd name="connsiteX11" fmla="*/ 0 w 12192000"/>
              <a:gd name="connsiteY11" fmla="*/ 6858000 h 6858000"/>
              <a:gd name="connsiteX0" fmla="*/ 361950 w 12192000"/>
              <a:gd name="connsiteY0" fmla="*/ 344402 h 6858000"/>
              <a:gd name="connsiteX1" fmla="*/ 361950 w 12192000"/>
              <a:gd name="connsiteY1" fmla="*/ 6536402 h 6858000"/>
              <a:gd name="connsiteX2" fmla="*/ 5401950 w 12192000"/>
              <a:gd name="connsiteY2" fmla="*/ 6536402 h 6858000"/>
              <a:gd name="connsiteX3" fmla="*/ 5401950 w 12192000"/>
              <a:gd name="connsiteY3" fmla="*/ 344402 h 6858000"/>
              <a:gd name="connsiteX4" fmla="*/ 361950 w 12192000"/>
              <a:gd name="connsiteY4" fmla="*/ 344402 h 6858000"/>
              <a:gd name="connsiteX5" fmla="*/ 10136965 w 12192000"/>
              <a:gd name="connsiteY5" fmla="*/ 258676 h 6858000"/>
              <a:gd name="connsiteX6" fmla="*/ 10129345 w 12192000"/>
              <a:gd name="connsiteY6" fmla="*/ 1099696 h 6858000"/>
              <a:gd name="connsiteX7" fmla="*/ 11857039 w 12192000"/>
              <a:gd name="connsiteY7" fmla="*/ 1099696 h 6858000"/>
              <a:gd name="connsiteX8" fmla="*/ 11857039 w 12192000"/>
              <a:gd name="connsiteY8" fmla="*/ 344401 h 6858000"/>
              <a:gd name="connsiteX9" fmla="*/ 10136965 w 12192000"/>
              <a:gd name="connsiteY9" fmla="*/ 25867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344402 h 6858000"/>
              <a:gd name="connsiteX1" fmla="*/ 361950 w 12192000"/>
              <a:gd name="connsiteY1" fmla="*/ 6536402 h 6858000"/>
              <a:gd name="connsiteX2" fmla="*/ 5401950 w 12192000"/>
              <a:gd name="connsiteY2" fmla="*/ 6536402 h 6858000"/>
              <a:gd name="connsiteX3" fmla="*/ 5401950 w 12192000"/>
              <a:gd name="connsiteY3" fmla="*/ 344402 h 6858000"/>
              <a:gd name="connsiteX4" fmla="*/ 361950 w 12192000"/>
              <a:gd name="connsiteY4" fmla="*/ 344402 h 6858000"/>
              <a:gd name="connsiteX5" fmla="*/ 10136965 w 12192000"/>
              <a:gd name="connsiteY5" fmla="*/ 258676 h 6858000"/>
              <a:gd name="connsiteX6" fmla="*/ 10129345 w 12192000"/>
              <a:gd name="connsiteY6" fmla="*/ 1099696 h 6858000"/>
              <a:gd name="connsiteX7" fmla="*/ 11857039 w 12192000"/>
              <a:gd name="connsiteY7" fmla="*/ 1099696 h 6858000"/>
              <a:gd name="connsiteX8" fmla="*/ 11910379 w 12192000"/>
              <a:gd name="connsiteY8" fmla="*/ 260581 h 6858000"/>
              <a:gd name="connsiteX9" fmla="*/ 10136965 w 12192000"/>
              <a:gd name="connsiteY9" fmla="*/ 25867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344402 h 6858000"/>
              <a:gd name="connsiteX1" fmla="*/ 361950 w 12192000"/>
              <a:gd name="connsiteY1" fmla="*/ 6536402 h 6858000"/>
              <a:gd name="connsiteX2" fmla="*/ 5401950 w 12192000"/>
              <a:gd name="connsiteY2" fmla="*/ 6536402 h 6858000"/>
              <a:gd name="connsiteX3" fmla="*/ 5401950 w 12192000"/>
              <a:gd name="connsiteY3" fmla="*/ 344402 h 6858000"/>
              <a:gd name="connsiteX4" fmla="*/ 361950 w 12192000"/>
              <a:gd name="connsiteY4" fmla="*/ 344402 h 6858000"/>
              <a:gd name="connsiteX5" fmla="*/ 10136965 w 12192000"/>
              <a:gd name="connsiteY5" fmla="*/ 258676 h 6858000"/>
              <a:gd name="connsiteX6" fmla="*/ 10129345 w 12192000"/>
              <a:gd name="connsiteY6" fmla="*/ 1099696 h 6858000"/>
              <a:gd name="connsiteX7" fmla="*/ 11910379 w 12192000"/>
              <a:gd name="connsiteY7" fmla="*/ 1029211 h 6858000"/>
              <a:gd name="connsiteX8" fmla="*/ 11910379 w 12192000"/>
              <a:gd name="connsiteY8" fmla="*/ 260581 h 6858000"/>
              <a:gd name="connsiteX9" fmla="*/ 10136965 w 12192000"/>
              <a:gd name="connsiteY9" fmla="*/ 25867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344402 h 6858000"/>
              <a:gd name="connsiteX1" fmla="*/ 361950 w 12192000"/>
              <a:gd name="connsiteY1" fmla="*/ 6536402 h 6858000"/>
              <a:gd name="connsiteX2" fmla="*/ 5401950 w 12192000"/>
              <a:gd name="connsiteY2" fmla="*/ 6536402 h 6858000"/>
              <a:gd name="connsiteX3" fmla="*/ 5401950 w 12192000"/>
              <a:gd name="connsiteY3" fmla="*/ 344402 h 6858000"/>
              <a:gd name="connsiteX4" fmla="*/ 361950 w 12192000"/>
              <a:gd name="connsiteY4" fmla="*/ 344402 h 6858000"/>
              <a:gd name="connsiteX5" fmla="*/ 10136965 w 12192000"/>
              <a:gd name="connsiteY5" fmla="*/ 258676 h 6858000"/>
              <a:gd name="connsiteX6" fmla="*/ 10138870 w 12192000"/>
              <a:gd name="connsiteY6" fmla="*/ 1034926 h 6858000"/>
              <a:gd name="connsiteX7" fmla="*/ 11910379 w 12192000"/>
              <a:gd name="connsiteY7" fmla="*/ 1029211 h 6858000"/>
              <a:gd name="connsiteX8" fmla="*/ 11910379 w 12192000"/>
              <a:gd name="connsiteY8" fmla="*/ 260581 h 6858000"/>
              <a:gd name="connsiteX9" fmla="*/ 10136965 w 12192000"/>
              <a:gd name="connsiteY9" fmla="*/ 25867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344402 h 6858000"/>
              <a:gd name="connsiteX1" fmla="*/ 361950 w 12192000"/>
              <a:gd name="connsiteY1" fmla="*/ 6536402 h 6858000"/>
              <a:gd name="connsiteX2" fmla="*/ 5401950 w 12192000"/>
              <a:gd name="connsiteY2" fmla="*/ 6536402 h 6858000"/>
              <a:gd name="connsiteX3" fmla="*/ 4587758 w 12192000"/>
              <a:gd name="connsiteY3" fmla="*/ 344402 h 6858000"/>
              <a:gd name="connsiteX4" fmla="*/ 361950 w 12192000"/>
              <a:gd name="connsiteY4" fmla="*/ 344402 h 6858000"/>
              <a:gd name="connsiteX5" fmla="*/ 10136965 w 12192000"/>
              <a:gd name="connsiteY5" fmla="*/ 258676 h 6858000"/>
              <a:gd name="connsiteX6" fmla="*/ 10138870 w 12192000"/>
              <a:gd name="connsiteY6" fmla="*/ 1034926 h 6858000"/>
              <a:gd name="connsiteX7" fmla="*/ 11910379 w 12192000"/>
              <a:gd name="connsiteY7" fmla="*/ 1029211 h 6858000"/>
              <a:gd name="connsiteX8" fmla="*/ 11910379 w 12192000"/>
              <a:gd name="connsiteY8" fmla="*/ 260581 h 6858000"/>
              <a:gd name="connsiteX9" fmla="*/ 10136965 w 12192000"/>
              <a:gd name="connsiteY9" fmla="*/ 25867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344402 h 6858000"/>
              <a:gd name="connsiteX1" fmla="*/ 361950 w 12192000"/>
              <a:gd name="connsiteY1" fmla="*/ 6536402 h 6858000"/>
              <a:gd name="connsiteX2" fmla="*/ 4568969 w 12192000"/>
              <a:gd name="connsiteY2" fmla="*/ 6536402 h 6858000"/>
              <a:gd name="connsiteX3" fmla="*/ 4587758 w 12192000"/>
              <a:gd name="connsiteY3" fmla="*/ 344402 h 6858000"/>
              <a:gd name="connsiteX4" fmla="*/ 361950 w 12192000"/>
              <a:gd name="connsiteY4" fmla="*/ 344402 h 6858000"/>
              <a:gd name="connsiteX5" fmla="*/ 10136965 w 12192000"/>
              <a:gd name="connsiteY5" fmla="*/ 258676 h 6858000"/>
              <a:gd name="connsiteX6" fmla="*/ 10138870 w 12192000"/>
              <a:gd name="connsiteY6" fmla="*/ 1034926 h 6858000"/>
              <a:gd name="connsiteX7" fmla="*/ 11910379 w 12192000"/>
              <a:gd name="connsiteY7" fmla="*/ 1029211 h 6858000"/>
              <a:gd name="connsiteX8" fmla="*/ 11910379 w 12192000"/>
              <a:gd name="connsiteY8" fmla="*/ 260581 h 6858000"/>
              <a:gd name="connsiteX9" fmla="*/ 10136965 w 12192000"/>
              <a:gd name="connsiteY9" fmla="*/ 25867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344402 h 6858000"/>
              <a:gd name="connsiteX1" fmla="*/ 361950 w 12192000"/>
              <a:gd name="connsiteY1" fmla="*/ 6536402 h 6858000"/>
              <a:gd name="connsiteX2" fmla="*/ 4568969 w 12192000"/>
              <a:gd name="connsiteY2" fmla="*/ 6536402 h 6858000"/>
              <a:gd name="connsiteX3" fmla="*/ 4575232 w 12192000"/>
              <a:gd name="connsiteY3" fmla="*/ 344402 h 6858000"/>
              <a:gd name="connsiteX4" fmla="*/ 361950 w 12192000"/>
              <a:gd name="connsiteY4" fmla="*/ 344402 h 6858000"/>
              <a:gd name="connsiteX5" fmla="*/ 10136965 w 12192000"/>
              <a:gd name="connsiteY5" fmla="*/ 258676 h 6858000"/>
              <a:gd name="connsiteX6" fmla="*/ 10138870 w 12192000"/>
              <a:gd name="connsiteY6" fmla="*/ 1034926 h 6858000"/>
              <a:gd name="connsiteX7" fmla="*/ 11910379 w 12192000"/>
              <a:gd name="connsiteY7" fmla="*/ 1029211 h 6858000"/>
              <a:gd name="connsiteX8" fmla="*/ 11910379 w 12192000"/>
              <a:gd name="connsiteY8" fmla="*/ 260581 h 6858000"/>
              <a:gd name="connsiteX9" fmla="*/ 10136965 w 12192000"/>
              <a:gd name="connsiteY9" fmla="*/ 25867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344402 h 6858000"/>
              <a:gd name="connsiteX1" fmla="*/ 361950 w 12192000"/>
              <a:gd name="connsiteY1" fmla="*/ 6536402 h 6858000"/>
              <a:gd name="connsiteX2" fmla="*/ 4568969 w 12192000"/>
              <a:gd name="connsiteY2" fmla="*/ 6536402 h 6858000"/>
              <a:gd name="connsiteX3" fmla="*/ 4581495 w 12192000"/>
              <a:gd name="connsiteY3" fmla="*/ 338139 h 6858000"/>
              <a:gd name="connsiteX4" fmla="*/ 361950 w 12192000"/>
              <a:gd name="connsiteY4" fmla="*/ 344402 h 6858000"/>
              <a:gd name="connsiteX5" fmla="*/ 10136965 w 12192000"/>
              <a:gd name="connsiteY5" fmla="*/ 258676 h 6858000"/>
              <a:gd name="connsiteX6" fmla="*/ 10138870 w 12192000"/>
              <a:gd name="connsiteY6" fmla="*/ 1034926 h 6858000"/>
              <a:gd name="connsiteX7" fmla="*/ 11910379 w 12192000"/>
              <a:gd name="connsiteY7" fmla="*/ 1029211 h 6858000"/>
              <a:gd name="connsiteX8" fmla="*/ 11910379 w 12192000"/>
              <a:gd name="connsiteY8" fmla="*/ 260581 h 6858000"/>
              <a:gd name="connsiteX9" fmla="*/ 10136965 w 12192000"/>
              <a:gd name="connsiteY9" fmla="*/ 25867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344402 h 6858000"/>
              <a:gd name="connsiteX1" fmla="*/ 361950 w 12192000"/>
              <a:gd name="connsiteY1" fmla="*/ 6536402 h 6858000"/>
              <a:gd name="connsiteX2" fmla="*/ 4587758 w 12192000"/>
              <a:gd name="connsiteY2" fmla="*/ 6536402 h 6858000"/>
              <a:gd name="connsiteX3" fmla="*/ 4581495 w 12192000"/>
              <a:gd name="connsiteY3" fmla="*/ 338139 h 6858000"/>
              <a:gd name="connsiteX4" fmla="*/ 361950 w 12192000"/>
              <a:gd name="connsiteY4" fmla="*/ 344402 h 6858000"/>
              <a:gd name="connsiteX5" fmla="*/ 10136965 w 12192000"/>
              <a:gd name="connsiteY5" fmla="*/ 258676 h 6858000"/>
              <a:gd name="connsiteX6" fmla="*/ 10138870 w 12192000"/>
              <a:gd name="connsiteY6" fmla="*/ 1034926 h 6858000"/>
              <a:gd name="connsiteX7" fmla="*/ 11910379 w 12192000"/>
              <a:gd name="connsiteY7" fmla="*/ 1029211 h 6858000"/>
              <a:gd name="connsiteX8" fmla="*/ 11910379 w 12192000"/>
              <a:gd name="connsiteY8" fmla="*/ 260581 h 6858000"/>
              <a:gd name="connsiteX9" fmla="*/ 10136965 w 12192000"/>
              <a:gd name="connsiteY9" fmla="*/ 25867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344402 h 6858000"/>
              <a:gd name="connsiteX1" fmla="*/ 361950 w 12192000"/>
              <a:gd name="connsiteY1" fmla="*/ 6536402 h 6858000"/>
              <a:gd name="connsiteX2" fmla="*/ 4587758 w 12192000"/>
              <a:gd name="connsiteY2" fmla="*/ 6536402 h 6858000"/>
              <a:gd name="connsiteX3" fmla="*/ 4600284 w 12192000"/>
              <a:gd name="connsiteY3" fmla="*/ 338139 h 6858000"/>
              <a:gd name="connsiteX4" fmla="*/ 361950 w 12192000"/>
              <a:gd name="connsiteY4" fmla="*/ 344402 h 6858000"/>
              <a:gd name="connsiteX5" fmla="*/ 10136965 w 12192000"/>
              <a:gd name="connsiteY5" fmla="*/ 258676 h 6858000"/>
              <a:gd name="connsiteX6" fmla="*/ 10138870 w 12192000"/>
              <a:gd name="connsiteY6" fmla="*/ 1034926 h 6858000"/>
              <a:gd name="connsiteX7" fmla="*/ 11910379 w 12192000"/>
              <a:gd name="connsiteY7" fmla="*/ 1029211 h 6858000"/>
              <a:gd name="connsiteX8" fmla="*/ 11910379 w 12192000"/>
              <a:gd name="connsiteY8" fmla="*/ 260581 h 6858000"/>
              <a:gd name="connsiteX9" fmla="*/ 10136965 w 12192000"/>
              <a:gd name="connsiteY9" fmla="*/ 25867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344402 h 6858000"/>
              <a:gd name="connsiteX1" fmla="*/ 361950 w 12192000"/>
              <a:gd name="connsiteY1" fmla="*/ 6536402 h 6858000"/>
              <a:gd name="connsiteX2" fmla="*/ 4587758 w 12192000"/>
              <a:gd name="connsiteY2" fmla="*/ 6536402 h 6858000"/>
              <a:gd name="connsiteX3" fmla="*/ 4594021 w 12192000"/>
              <a:gd name="connsiteY3" fmla="*/ 344402 h 6858000"/>
              <a:gd name="connsiteX4" fmla="*/ 361950 w 12192000"/>
              <a:gd name="connsiteY4" fmla="*/ 344402 h 6858000"/>
              <a:gd name="connsiteX5" fmla="*/ 10136965 w 12192000"/>
              <a:gd name="connsiteY5" fmla="*/ 258676 h 6858000"/>
              <a:gd name="connsiteX6" fmla="*/ 10138870 w 12192000"/>
              <a:gd name="connsiteY6" fmla="*/ 1034926 h 6858000"/>
              <a:gd name="connsiteX7" fmla="*/ 11910379 w 12192000"/>
              <a:gd name="connsiteY7" fmla="*/ 1029211 h 6858000"/>
              <a:gd name="connsiteX8" fmla="*/ 11910379 w 12192000"/>
              <a:gd name="connsiteY8" fmla="*/ 260581 h 6858000"/>
              <a:gd name="connsiteX9" fmla="*/ 10136965 w 12192000"/>
              <a:gd name="connsiteY9" fmla="*/ 25867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344402 h 6858000"/>
              <a:gd name="connsiteX1" fmla="*/ 361950 w 12192000"/>
              <a:gd name="connsiteY1" fmla="*/ 6536402 h 6858000"/>
              <a:gd name="connsiteX2" fmla="*/ 4587758 w 12192000"/>
              <a:gd name="connsiteY2" fmla="*/ 6536402 h 6858000"/>
              <a:gd name="connsiteX3" fmla="*/ 4594021 w 12192000"/>
              <a:gd name="connsiteY3" fmla="*/ 344402 h 6858000"/>
              <a:gd name="connsiteX4" fmla="*/ 361950 w 12192000"/>
              <a:gd name="connsiteY4" fmla="*/ 344402 h 6858000"/>
              <a:gd name="connsiteX5" fmla="*/ 10136965 w 12192000"/>
              <a:gd name="connsiteY5" fmla="*/ 258676 h 6858000"/>
              <a:gd name="connsiteX6" fmla="*/ 10138870 w 12192000"/>
              <a:gd name="connsiteY6" fmla="*/ 1034926 h 6858000"/>
              <a:gd name="connsiteX7" fmla="*/ 11910379 w 12192000"/>
              <a:gd name="connsiteY7" fmla="*/ 1029211 h 6858000"/>
              <a:gd name="connsiteX8" fmla="*/ 11904664 w 12192000"/>
              <a:gd name="connsiteY8" fmla="*/ 268201 h 6858000"/>
              <a:gd name="connsiteX9" fmla="*/ 10136965 w 12192000"/>
              <a:gd name="connsiteY9" fmla="*/ 25867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344402 h 6858000"/>
              <a:gd name="connsiteX1" fmla="*/ 361950 w 12192000"/>
              <a:gd name="connsiteY1" fmla="*/ 6536402 h 6858000"/>
              <a:gd name="connsiteX2" fmla="*/ 4587758 w 12192000"/>
              <a:gd name="connsiteY2" fmla="*/ 6536402 h 6858000"/>
              <a:gd name="connsiteX3" fmla="*/ 4594021 w 12192000"/>
              <a:gd name="connsiteY3" fmla="*/ 344402 h 6858000"/>
              <a:gd name="connsiteX4" fmla="*/ 361950 w 12192000"/>
              <a:gd name="connsiteY4" fmla="*/ 344402 h 6858000"/>
              <a:gd name="connsiteX5" fmla="*/ 10136965 w 12192000"/>
              <a:gd name="connsiteY5" fmla="*/ 258676 h 6858000"/>
              <a:gd name="connsiteX6" fmla="*/ 10138870 w 12192000"/>
              <a:gd name="connsiteY6" fmla="*/ 1034926 h 6858000"/>
              <a:gd name="connsiteX7" fmla="*/ 11904664 w 12192000"/>
              <a:gd name="connsiteY7" fmla="*/ 1027306 h 6858000"/>
              <a:gd name="connsiteX8" fmla="*/ 11904664 w 12192000"/>
              <a:gd name="connsiteY8" fmla="*/ 268201 h 6858000"/>
              <a:gd name="connsiteX9" fmla="*/ 10136965 w 12192000"/>
              <a:gd name="connsiteY9" fmla="*/ 25867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344402 h 6858000"/>
              <a:gd name="connsiteX1" fmla="*/ 361950 w 12192000"/>
              <a:gd name="connsiteY1" fmla="*/ 6536402 h 6858000"/>
              <a:gd name="connsiteX2" fmla="*/ 4587758 w 12192000"/>
              <a:gd name="connsiteY2" fmla="*/ 6536402 h 6858000"/>
              <a:gd name="connsiteX3" fmla="*/ 4594021 w 12192000"/>
              <a:gd name="connsiteY3" fmla="*/ 344402 h 6858000"/>
              <a:gd name="connsiteX4" fmla="*/ 361950 w 12192000"/>
              <a:gd name="connsiteY4" fmla="*/ 344402 h 6858000"/>
              <a:gd name="connsiteX5" fmla="*/ 10144585 w 12192000"/>
              <a:gd name="connsiteY5" fmla="*/ 266296 h 6858000"/>
              <a:gd name="connsiteX6" fmla="*/ 10138870 w 12192000"/>
              <a:gd name="connsiteY6" fmla="*/ 1034926 h 6858000"/>
              <a:gd name="connsiteX7" fmla="*/ 11904664 w 12192000"/>
              <a:gd name="connsiteY7" fmla="*/ 1027306 h 6858000"/>
              <a:gd name="connsiteX8" fmla="*/ 11904664 w 12192000"/>
              <a:gd name="connsiteY8" fmla="*/ 268201 h 6858000"/>
              <a:gd name="connsiteX9" fmla="*/ 10144585 w 12192000"/>
              <a:gd name="connsiteY9" fmla="*/ 26629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344402 h 6858000"/>
              <a:gd name="connsiteX1" fmla="*/ 361950 w 12192000"/>
              <a:gd name="connsiteY1" fmla="*/ 6536402 h 6858000"/>
              <a:gd name="connsiteX2" fmla="*/ 4587758 w 12192000"/>
              <a:gd name="connsiteY2" fmla="*/ 6536402 h 6858000"/>
              <a:gd name="connsiteX3" fmla="*/ 4594021 w 12192000"/>
              <a:gd name="connsiteY3" fmla="*/ 344402 h 6858000"/>
              <a:gd name="connsiteX4" fmla="*/ 361950 w 12192000"/>
              <a:gd name="connsiteY4" fmla="*/ 344402 h 6858000"/>
              <a:gd name="connsiteX5" fmla="*/ 10144585 w 12192000"/>
              <a:gd name="connsiteY5" fmla="*/ 266296 h 6858000"/>
              <a:gd name="connsiteX6" fmla="*/ 10144585 w 12192000"/>
              <a:gd name="connsiteY6" fmla="*/ 1025401 h 6858000"/>
              <a:gd name="connsiteX7" fmla="*/ 11904664 w 12192000"/>
              <a:gd name="connsiteY7" fmla="*/ 1027306 h 6858000"/>
              <a:gd name="connsiteX8" fmla="*/ 11904664 w 12192000"/>
              <a:gd name="connsiteY8" fmla="*/ 268201 h 6858000"/>
              <a:gd name="connsiteX9" fmla="*/ 10144585 w 12192000"/>
              <a:gd name="connsiteY9" fmla="*/ 26629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344402 h 6858000"/>
              <a:gd name="connsiteX1" fmla="*/ 361950 w 12192000"/>
              <a:gd name="connsiteY1" fmla="*/ 6536402 h 6858000"/>
              <a:gd name="connsiteX2" fmla="*/ 4587758 w 12192000"/>
              <a:gd name="connsiteY2" fmla="*/ 6536402 h 6858000"/>
              <a:gd name="connsiteX3" fmla="*/ 4594021 w 12192000"/>
              <a:gd name="connsiteY3" fmla="*/ 344402 h 6858000"/>
              <a:gd name="connsiteX4" fmla="*/ 361950 w 12192000"/>
              <a:gd name="connsiteY4" fmla="*/ 344402 h 6858000"/>
              <a:gd name="connsiteX5" fmla="*/ 10144585 w 12192000"/>
              <a:gd name="connsiteY5" fmla="*/ 266296 h 6858000"/>
              <a:gd name="connsiteX6" fmla="*/ 10144585 w 12192000"/>
              <a:gd name="connsiteY6" fmla="*/ 1025401 h 6858000"/>
              <a:gd name="connsiteX7" fmla="*/ 11904664 w 12192000"/>
              <a:gd name="connsiteY7" fmla="*/ 1027306 h 6858000"/>
              <a:gd name="connsiteX8" fmla="*/ 11721784 w 12192000"/>
              <a:gd name="connsiteY8" fmla="*/ 390121 h 6858000"/>
              <a:gd name="connsiteX9" fmla="*/ 10144585 w 12192000"/>
              <a:gd name="connsiteY9" fmla="*/ 26629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344402 h 6858000"/>
              <a:gd name="connsiteX1" fmla="*/ 361950 w 12192000"/>
              <a:gd name="connsiteY1" fmla="*/ 6536402 h 6858000"/>
              <a:gd name="connsiteX2" fmla="*/ 4587758 w 12192000"/>
              <a:gd name="connsiteY2" fmla="*/ 6536402 h 6858000"/>
              <a:gd name="connsiteX3" fmla="*/ 4594021 w 12192000"/>
              <a:gd name="connsiteY3" fmla="*/ 344402 h 6858000"/>
              <a:gd name="connsiteX4" fmla="*/ 361950 w 12192000"/>
              <a:gd name="connsiteY4" fmla="*/ 344402 h 6858000"/>
              <a:gd name="connsiteX5" fmla="*/ 10144585 w 12192000"/>
              <a:gd name="connsiteY5" fmla="*/ 266296 h 6858000"/>
              <a:gd name="connsiteX6" fmla="*/ 10144585 w 12192000"/>
              <a:gd name="connsiteY6" fmla="*/ 1025401 h 6858000"/>
              <a:gd name="connsiteX7" fmla="*/ 11904664 w 12192000"/>
              <a:gd name="connsiteY7" fmla="*/ 1027306 h 6858000"/>
              <a:gd name="connsiteX8" fmla="*/ 11902759 w 12192000"/>
              <a:gd name="connsiteY8" fmla="*/ 268201 h 6858000"/>
              <a:gd name="connsiteX9" fmla="*/ 10144585 w 12192000"/>
              <a:gd name="connsiteY9" fmla="*/ 26629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344402 h 6858000"/>
              <a:gd name="connsiteX1" fmla="*/ 361950 w 12192000"/>
              <a:gd name="connsiteY1" fmla="*/ 6536402 h 6858000"/>
              <a:gd name="connsiteX2" fmla="*/ 4587758 w 12192000"/>
              <a:gd name="connsiteY2" fmla="*/ 6536402 h 6858000"/>
              <a:gd name="connsiteX3" fmla="*/ 4594021 w 12192000"/>
              <a:gd name="connsiteY3" fmla="*/ 344402 h 6858000"/>
              <a:gd name="connsiteX4" fmla="*/ 361950 w 12192000"/>
              <a:gd name="connsiteY4" fmla="*/ 344402 h 6858000"/>
              <a:gd name="connsiteX5" fmla="*/ 10144585 w 12192000"/>
              <a:gd name="connsiteY5" fmla="*/ 266296 h 6858000"/>
              <a:gd name="connsiteX6" fmla="*/ 10144585 w 12192000"/>
              <a:gd name="connsiteY6" fmla="*/ 1025401 h 6858000"/>
              <a:gd name="connsiteX7" fmla="*/ 11649394 w 12192000"/>
              <a:gd name="connsiteY7" fmla="*/ 871096 h 6858000"/>
              <a:gd name="connsiteX8" fmla="*/ 11902759 w 12192000"/>
              <a:gd name="connsiteY8" fmla="*/ 268201 h 6858000"/>
              <a:gd name="connsiteX9" fmla="*/ 10144585 w 12192000"/>
              <a:gd name="connsiteY9" fmla="*/ 26629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344402 h 6858000"/>
              <a:gd name="connsiteX1" fmla="*/ 361950 w 12192000"/>
              <a:gd name="connsiteY1" fmla="*/ 6536402 h 6858000"/>
              <a:gd name="connsiteX2" fmla="*/ 4587758 w 12192000"/>
              <a:gd name="connsiteY2" fmla="*/ 6536402 h 6858000"/>
              <a:gd name="connsiteX3" fmla="*/ 4594021 w 12192000"/>
              <a:gd name="connsiteY3" fmla="*/ 344402 h 6858000"/>
              <a:gd name="connsiteX4" fmla="*/ 361950 w 12192000"/>
              <a:gd name="connsiteY4" fmla="*/ 344402 h 6858000"/>
              <a:gd name="connsiteX5" fmla="*/ 10144585 w 12192000"/>
              <a:gd name="connsiteY5" fmla="*/ 266296 h 6858000"/>
              <a:gd name="connsiteX6" fmla="*/ 10144585 w 12192000"/>
              <a:gd name="connsiteY6" fmla="*/ 1025401 h 6858000"/>
              <a:gd name="connsiteX7" fmla="*/ 11904664 w 12192000"/>
              <a:gd name="connsiteY7" fmla="*/ 1027306 h 6858000"/>
              <a:gd name="connsiteX8" fmla="*/ 11902759 w 12192000"/>
              <a:gd name="connsiteY8" fmla="*/ 268201 h 6858000"/>
              <a:gd name="connsiteX9" fmla="*/ 10144585 w 12192000"/>
              <a:gd name="connsiteY9" fmla="*/ 26629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344402 h 6858000"/>
              <a:gd name="connsiteX1" fmla="*/ 361950 w 12192000"/>
              <a:gd name="connsiteY1" fmla="*/ 6536402 h 6858000"/>
              <a:gd name="connsiteX2" fmla="*/ 4587758 w 12192000"/>
              <a:gd name="connsiteY2" fmla="*/ 6536402 h 6858000"/>
              <a:gd name="connsiteX3" fmla="*/ 4594021 w 12192000"/>
              <a:gd name="connsiteY3" fmla="*/ 344402 h 6858000"/>
              <a:gd name="connsiteX4" fmla="*/ 361950 w 12192000"/>
              <a:gd name="connsiteY4" fmla="*/ 344402 h 6858000"/>
              <a:gd name="connsiteX5" fmla="*/ 10144585 w 12192000"/>
              <a:gd name="connsiteY5" fmla="*/ 266296 h 6858000"/>
              <a:gd name="connsiteX6" fmla="*/ 10144585 w 12192000"/>
              <a:gd name="connsiteY6" fmla="*/ 1025401 h 6858000"/>
              <a:gd name="connsiteX7" fmla="*/ 11756074 w 12192000"/>
              <a:gd name="connsiteY7" fmla="*/ 953011 h 6858000"/>
              <a:gd name="connsiteX8" fmla="*/ 11902759 w 12192000"/>
              <a:gd name="connsiteY8" fmla="*/ 268201 h 6858000"/>
              <a:gd name="connsiteX9" fmla="*/ 10144585 w 12192000"/>
              <a:gd name="connsiteY9" fmla="*/ 26629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344402 h 6858000"/>
              <a:gd name="connsiteX1" fmla="*/ 361950 w 12192000"/>
              <a:gd name="connsiteY1" fmla="*/ 6536402 h 6858000"/>
              <a:gd name="connsiteX2" fmla="*/ 4587758 w 12192000"/>
              <a:gd name="connsiteY2" fmla="*/ 6536402 h 6858000"/>
              <a:gd name="connsiteX3" fmla="*/ 4594021 w 12192000"/>
              <a:gd name="connsiteY3" fmla="*/ 344402 h 6858000"/>
              <a:gd name="connsiteX4" fmla="*/ 361950 w 12192000"/>
              <a:gd name="connsiteY4" fmla="*/ 344402 h 6858000"/>
              <a:gd name="connsiteX5" fmla="*/ 10144585 w 12192000"/>
              <a:gd name="connsiteY5" fmla="*/ 266296 h 6858000"/>
              <a:gd name="connsiteX6" fmla="*/ 10144585 w 12192000"/>
              <a:gd name="connsiteY6" fmla="*/ 1025401 h 6858000"/>
              <a:gd name="connsiteX7" fmla="*/ 11902759 w 12192000"/>
              <a:gd name="connsiteY7" fmla="*/ 1029211 h 6858000"/>
              <a:gd name="connsiteX8" fmla="*/ 11902759 w 12192000"/>
              <a:gd name="connsiteY8" fmla="*/ 268201 h 6858000"/>
              <a:gd name="connsiteX9" fmla="*/ 10144585 w 12192000"/>
              <a:gd name="connsiteY9" fmla="*/ 26629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344402 h 6858000"/>
              <a:gd name="connsiteX1" fmla="*/ 361950 w 12192000"/>
              <a:gd name="connsiteY1" fmla="*/ 6536402 h 6858000"/>
              <a:gd name="connsiteX2" fmla="*/ 4587758 w 12192000"/>
              <a:gd name="connsiteY2" fmla="*/ 6536402 h 6858000"/>
              <a:gd name="connsiteX3" fmla="*/ 4594021 w 12192000"/>
              <a:gd name="connsiteY3" fmla="*/ 344402 h 6858000"/>
              <a:gd name="connsiteX4" fmla="*/ 361950 w 12192000"/>
              <a:gd name="connsiteY4" fmla="*/ 344402 h 6858000"/>
              <a:gd name="connsiteX5" fmla="*/ 10144585 w 12192000"/>
              <a:gd name="connsiteY5" fmla="*/ 266296 h 6858000"/>
              <a:gd name="connsiteX6" fmla="*/ 10144585 w 12192000"/>
              <a:gd name="connsiteY6" fmla="*/ 1025401 h 6858000"/>
              <a:gd name="connsiteX7" fmla="*/ 11735119 w 12192000"/>
              <a:gd name="connsiteY7" fmla="*/ 899671 h 6858000"/>
              <a:gd name="connsiteX8" fmla="*/ 11902759 w 12192000"/>
              <a:gd name="connsiteY8" fmla="*/ 268201 h 6858000"/>
              <a:gd name="connsiteX9" fmla="*/ 10144585 w 12192000"/>
              <a:gd name="connsiteY9" fmla="*/ 26629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344402 h 6858000"/>
              <a:gd name="connsiteX1" fmla="*/ 361950 w 12192000"/>
              <a:gd name="connsiteY1" fmla="*/ 6536402 h 6858000"/>
              <a:gd name="connsiteX2" fmla="*/ 4587758 w 12192000"/>
              <a:gd name="connsiteY2" fmla="*/ 6536402 h 6858000"/>
              <a:gd name="connsiteX3" fmla="*/ 4594021 w 12192000"/>
              <a:gd name="connsiteY3" fmla="*/ 344402 h 6858000"/>
              <a:gd name="connsiteX4" fmla="*/ 361950 w 12192000"/>
              <a:gd name="connsiteY4" fmla="*/ 344402 h 6858000"/>
              <a:gd name="connsiteX5" fmla="*/ 10144585 w 12192000"/>
              <a:gd name="connsiteY5" fmla="*/ 266296 h 6858000"/>
              <a:gd name="connsiteX6" fmla="*/ 10144585 w 12192000"/>
              <a:gd name="connsiteY6" fmla="*/ 1025401 h 6858000"/>
              <a:gd name="connsiteX7" fmla="*/ 11900854 w 12192000"/>
              <a:gd name="connsiteY7" fmla="*/ 1029211 h 6858000"/>
              <a:gd name="connsiteX8" fmla="*/ 11902759 w 12192000"/>
              <a:gd name="connsiteY8" fmla="*/ 268201 h 6858000"/>
              <a:gd name="connsiteX9" fmla="*/ 10144585 w 12192000"/>
              <a:gd name="connsiteY9" fmla="*/ 26629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344402 h 6858000"/>
              <a:gd name="connsiteX1" fmla="*/ 361950 w 12192000"/>
              <a:gd name="connsiteY1" fmla="*/ 6536402 h 6858000"/>
              <a:gd name="connsiteX2" fmla="*/ 4587758 w 12192000"/>
              <a:gd name="connsiteY2" fmla="*/ 6536402 h 6858000"/>
              <a:gd name="connsiteX3" fmla="*/ 4594021 w 12192000"/>
              <a:gd name="connsiteY3" fmla="*/ 344402 h 6858000"/>
              <a:gd name="connsiteX4" fmla="*/ 361950 w 12192000"/>
              <a:gd name="connsiteY4" fmla="*/ 344402 h 6858000"/>
              <a:gd name="connsiteX5" fmla="*/ 10144585 w 12192000"/>
              <a:gd name="connsiteY5" fmla="*/ 266296 h 6858000"/>
              <a:gd name="connsiteX6" fmla="*/ 10144585 w 12192000"/>
              <a:gd name="connsiteY6" fmla="*/ 1025401 h 6858000"/>
              <a:gd name="connsiteX7" fmla="*/ 11900854 w 12192000"/>
              <a:gd name="connsiteY7" fmla="*/ 1031116 h 6858000"/>
              <a:gd name="connsiteX8" fmla="*/ 11902759 w 12192000"/>
              <a:gd name="connsiteY8" fmla="*/ 268201 h 6858000"/>
              <a:gd name="connsiteX9" fmla="*/ 10144585 w 12192000"/>
              <a:gd name="connsiteY9" fmla="*/ 26629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344402 h 6858000"/>
              <a:gd name="connsiteX1" fmla="*/ 361950 w 12192000"/>
              <a:gd name="connsiteY1" fmla="*/ 6536402 h 6858000"/>
              <a:gd name="connsiteX2" fmla="*/ 4587758 w 12192000"/>
              <a:gd name="connsiteY2" fmla="*/ 6536402 h 6858000"/>
              <a:gd name="connsiteX3" fmla="*/ 4594021 w 12192000"/>
              <a:gd name="connsiteY3" fmla="*/ 344402 h 6858000"/>
              <a:gd name="connsiteX4" fmla="*/ 361950 w 12192000"/>
              <a:gd name="connsiteY4" fmla="*/ 344402 h 6858000"/>
              <a:gd name="connsiteX5" fmla="*/ 10144585 w 12192000"/>
              <a:gd name="connsiteY5" fmla="*/ 266296 h 6858000"/>
              <a:gd name="connsiteX6" fmla="*/ 10144585 w 12192000"/>
              <a:gd name="connsiteY6" fmla="*/ 1025401 h 6858000"/>
              <a:gd name="connsiteX7" fmla="*/ 11900854 w 12192000"/>
              <a:gd name="connsiteY7" fmla="*/ 1027306 h 6858000"/>
              <a:gd name="connsiteX8" fmla="*/ 11902759 w 12192000"/>
              <a:gd name="connsiteY8" fmla="*/ 268201 h 6858000"/>
              <a:gd name="connsiteX9" fmla="*/ 10144585 w 12192000"/>
              <a:gd name="connsiteY9" fmla="*/ 26629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344402 h 6858000"/>
              <a:gd name="connsiteX1" fmla="*/ 361950 w 12192000"/>
              <a:gd name="connsiteY1" fmla="*/ 6536402 h 6858000"/>
              <a:gd name="connsiteX2" fmla="*/ 4587758 w 12192000"/>
              <a:gd name="connsiteY2" fmla="*/ 6536402 h 6858000"/>
              <a:gd name="connsiteX3" fmla="*/ 4505121 w 12192000"/>
              <a:gd name="connsiteY3" fmla="*/ 261852 h 6858000"/>
              <a:gd name="connsiteX4" fmla="*/ 361950 w 12192000"/>
              <a:gd name="connsiteY4" fmla="*/ 344402 h 6858000"/>
              <a:gd name="connsiteX5" fmla="*/ 10144585 w 12192000"/>
              <a:gd name="connsiteY5" fmla="*/ 266296 h 6858000"/>
              <a:gd name="connsiteX6" fmla="*/ 10144585 w 12192000"/>
              <a:gd name="connsiteY6" fmla="*/ 1025401 h 6858000"/>
              <a:gd name="connsiteX7" fmla="*/ 11900854 w 12192000"/>
              <a:gd name="connsiteY7" fmla="*/ 1027306 h 6858000"/>
              <a:gd name="connsiteX8" fmla="*/ 11902759 w 12192000"/>
              <a:gd name="connsiteY8" fmla="*/ 268201 h 6858000"/>
              <a:gd name="connsiteX9" fmla="*/ 10144585 w 12192000"/>
              <a:gd name="connsiteY9" fmla="*/ 26629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292100 w 12192000"/>
              <a:gd name="connsiteY0" fmla="*/ 261852 h 6858000"/>
              <a:gd name="connsiteX1" fmla="*/ 361950 w 12192000"/>
              <a:gd name="connsiteY1" fmla="*/ 6536402 h 6858000"/>
              <a:gd name="connsiteX2" fmla="*/ 4587758 w 12192000"/>
              <a:gd name="connsiteY2" fmla="*/ 6536402 h 6858000"/>
              <a:gd name="connsiteX3" fmla="*/ 4505121 w 12192000"/>
              <a:gd name="connsiteY3" fmla="*/ 261852 h 6858000"/>
              <a:gd name="connsiteX4" fmla="*/ 292100 w 12192000"/>
              <a:gd name="connsiteY4" fmla="*/ 261852 h 6858000"/>
              <a:gd name="connsiteX5" fmla="*/ 10144585 w 12192000"/>
              <a:gd name="connsiteY5" fmla="*/ 266296 h 6858000"/>
              <a:gd name="connsiteX6" fmla="*/ 10144585 w 12192000"/>
              <a:gd name="connsiteY6" fmla="*/ 1025401 h 6858000"/>
              <a:gd name="connsiteX7" fmla="*/ 11900854 w 12192000"/>
              <a:gd name="connsiteY7" fmla="*/ 1027306 h 6858000"/>
              <a:gd name="connsiteX8" fmla="*/ 11902759 w 12192000"/>
              <a:gd name="connsiteY8" fmla="*/ 268201 h 6858000"/>
              <a:gd name="connsiteX9" fmla="*/ 10144585 w 12192000"/>
              <a:gd name="connsiteY9" fmla="*/ 26629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292100 w 12192000"/>
              <a:gd name="connsiteY0" fmla="*/ 261852 h 6858000"/>
              <a:gd name="connsiteX1" fmla="*/ 285750 w 12192000"/>
              <a:gd name="connsiteY1" fmla="*/ 6593552 h 6858000"/>
              <a:gd name="connsiteX2" fmla="*/ 4587758 w 12192000"/>
              <a:gd name="connsiteY2" fmla="*/ 6536402 h 6858000"/>
              <a:gd name="connsiteX3" fmla="*/ 4505121 w 12192000"/>
              <a:gd name="connsiteY3" fmla="*/ 261852 h 6858000"/>
              <a:gd name="connsiteX4" fmla="*/ 292100 w 12192000"/>
              <a:gd name="connsiteY4" fmla="*/ 261852 h 6858000"/>
              <a:gd name="connsiteX5" fmla="*/ 10144585 w 12192000"/>
              <a:gd name="connsiteY5" fmla="*/ 266296 h 6858000"/>
              <a:gd name="connsiteX6" fmla="*/ 10144585 w 12192000"/>
              <a:gd name="connsiteY6" fmla="*/ 1025401 h 6858000"/>
              <a:gd name="connsiteX7" fmla="*/ 11900854 w 12192000"/>
              <a:gd name="connsiteY7" fmla="*/ 1027306 h 6858000"/>
              <a:gd name="connsiteX8" fmla="*/ 11902759 w 12192000"/>
              <a:gd name="connsiteY8" fmla="*/ 268201 h 6858000"/>
              <a:gd name="connsiteX9" fmla="*/ 10144585 w 12192000"/>
              <a:gd name="connsiteY9" fmla="*/ 26629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292100 w 12192000"/>
              <a:gd name="connsiteY0" fmla="*/ 261852 h 6858000"/>
              <a:gd name="connsiteX1" fmla="*/ 285750 w 12192000"/>
              <a:gd name="connsiteY1" fmla="*/ 6593552 h 6858000"/>
              <a:gd name="connsiteX2" fmla="*/ 4498858 w 12192000"/>
              <a:gd name="connsiteY2" fmla="*/ 6593552 h 6858000"/>
              <a:gd name="connsiteX3" fmla="*/ 4505121 w 12192000"/>
              <a:gd name="connsiteY3" fmla="*/ 261852 h 6858000"/>
              <a:gd name="connsiteX4" fmla="*/ 292100 w 12192000"/>
              <a:gd name="connsiteY4" fmla="*/ 261852 h 6858000"/>
              <a:gd name="connsiteX5" fmla="*/ 10144585 w 12192000"/>
              <a:gd name="connsiteY5" fmla="*/ 266296 h 6858000"/>
              <a:gd name="connsiteX6" fmla="*/ 10144585 w 12192000"/>
              <a:gd name="connsiteY6" fmla="*/ 1025401 h 6858000"/>
              <a:gd name="connsiteX7" fmla="*/ 11900854 w 12192000"/>
              <a:gd name="connsiteY7" fmla="*/ 1027306 h 6858000"/>
              <a:gd name="connsiteX8" fmla="*/ 11902759 w 12192000"/>
              <a:gd name="connsiteY8" fmla="*/ 268201 h 6858000"/>
              <a:gd name="connsiteX9" fmla="*/ 10144585 w 12192000"/>
              <a:gd name="connsiteY9" fmla="*/ 26629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292100 w 12192000"/>
              <a:gd name="connsiteY0" fmla="*/ 261852 h 6858000"/>
              <a:gd name="connsiteX1" fmla="*/ 285750 w 12192000"/>
              <a:gd name="connsiteY1" fmla="*/ 6593552 h 6858000"/>
              <a:gd name="connsiteX2" fmla="*/ 4511558 w 12192000"/>
              <a:gd name="connsiteY2" fmla="*/ 6599902 h 6858000"/>
              <a:gd name="connsiteX3" fmla="*/ 4505121 w 12192000"/>
              <a:gd name="connsiteY3" fmla="*/ 261852 h 6858000"/>
              <a:gd name="connsiteX4" fmla="*/ 292100 w 12192000"/>
              <a:gd name="connsiteY4" fmla="*/ 261852 h 6858000"/>
              <a:gd name="connsiteX5" fmla="*/ 10144585 w 12192000"/>
              <a:gd name="connsiteY5" fmla="*/ 266296 h 6858000"/>
              <a:gd name="connsiteX6" fmla="*/ 10144585 w 12192000"/>
              <a:gd name="connsiteY6" fmla="*/ 1025401 h 6858000"/>
              <a:gd name="connsiteX7" fmla="*/ 11900854 w 12192000"/>
              <a:gd name="connsiteY7" fmla="*/ 1027306 h 6858000"/>
              <a:gd name="connsiteX8" fmla="*/ 11902759 w 12192000"/>
              <a:gd name="connsiteY8" fmla="*/ 268201 h 6858000"/>
              <a:gd name="connsiteX9" fmla="*/ 10144585 w 12192000"/>
              <a:gd name="connsiteY9" fmla="*/ 26629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192000" h="6858000">
                <a:moveTo>
                  <a:pt x="292100" y="261852"/>
                </a:moveTo>
                <a:cubicBezTo>
                  <a:pt x="289983" y="2372419"/>
                  <a:pt x="287867" y="4482985"/>
                  <a:pt x="285750" y="6593552"/>
                </a:cubicBezTo>
                <a:lnTo>
                  <a:pt x="4511558" y="6599902"/>
                </a:lnTo>
                <a:cubicBezTo>
                  <a:pt x="4513646" y="4535902"/>
                  <a:pt x="4503033" y="2325852"/>
                  <a:pt x="4505121" y="261852"/>
                </a:cubicBezTo>
                <a:lnTo>
                  <a:pt x="292100" y="261852"/>
                </a:lnTo>
                <a:close/>
                <a:moveTo>
                  <a:pt x="10144585" y="266296"/>
                </a:moveTo>
                <a:lnTo>
                  <a:pt x="10144585" y="1025401"/>
                </a:lnTo>
                <a:lnTo>
                  <a:pt x="11900854" y="1027306"/>
                </a:lnTo>
                <a:lnTo>
                  <a:pt x="11902759" y="268201"/>
                </a:lnTo>
                <a:lnTo>
                  <a:pt x="10144585" y="266296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8" name="Subline">
            <a:extLst>
              <a:ext uri="{FF2B5EF4-FFF2-40B4-BE49-F238E27FC236}">
                <a16:creationId xmlns:a16="http://schemas.microsoft.com/office/drawing/2014/main" id="{27895B51-0BE5-4A27-BF19-DDD42ED326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4904" y="5443855"/>
            <a:ext cx="4219882" cy="166199"/>
          </a:xfrm>
          <a:prstGeom prst="rect">
            <a:avLst/>
          </a:prstGeom>
        </p:spPr>
        <p:txBody>
          <a:bodyPr lIns="288000" rIns="288000" anchor="t" anchorCtr="0">
            <a:spAutoFit/>
          </a:bodyPr>
          <a:lstStyle>
            <a:lvl1pPr marL="0" indent="0">
              <a:spcBef>
                <a:spcPts val="0"/>
              </a:spcBef>
              <a:buNone/>
              <a:defRPr sz="1200" b="1" cap="none" baseline="0">
                <a:latin typeface="+mj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6D20123-1501-4CA7-AA2F-3112A03319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4904" y="258750"/>
            <a:ext cx="4219882" cy="1191023"/>
          </a:xfrm>
        </p:spPr>
        <p:txBody>
          <a:bodyPr vert="horz" lIns="288000" tIns="288000" rIns="288000" bIns="288000" rtlCol="0">
            <a:noAutofit/>
          </a:bodyPr>
          <a:lstStyle>
            <a:lvl1pPr>
              <a:spcBef>
                <a:spcPts val="0"/>
              </a:spcBef>
              <a:defRPr lang="de-DE" sz="2200" cap="none" baseline="0" dirty="0">
                <a:latin typeface="+mj-lt"/>
                <a:ea typeface="+mn-ea"/>
                <a:cs typeface="+mn-cs"/>
              </a:defRPr>
            </a:lvl1pPr>
          </a:lstStyle>
          <a:p>
            <a:pPr marL="0" lvl="0" indent="0">
              <a:spcBef>
                <a:spcPts val="1000"/>
              </a:spcBef>
              <a:buFont typeface="Arial" panose="020B0604020202020204" pitchFamily="34" charset="0"/>
            </a:pPr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5CF86407-DA27-4CA6-A346-F8477F884E96}"/>
              </a:ext>
            </a:extLst>
          </p:cNvPr>
          <p:cNvSpPr>
            <a:spLocks/>
          </p:cNvSpPr>
          <p:nvPr userDrawn="1"/>
        </p:nvSpPr>
        <p:spPr>
          <a:xfrm>
            <a:off x="-1939923" y="2913099"/>
            <a:ext cx="1772284" cy="1031803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spAutoFit/>
          </a:bodyPr>
          <a:lstStyle/>
          <a:p>
            <a:pPr algn="ctr">
              <a:lnSpc>
                <a:spcPct val="90000"/>
              </a:lnSpc>
            </a:pPr>
            <a:r>
              <a:rPr lang="de-DE" sz="1600" b="0" dirty="0">
                <a:solidFill>
                  <a:schemeClr val="tx1"/>
                </a:solidFill>
              </a:rPr>
              <a:t>Bitte keine Folien mit vollflächigen Farben oder Motiven drucken 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6061" y="258750"/>
            <a:ext cx="1774212" cy="775631"/>
          </a:xfrm>
          <a:prstGeom prst="rect">
            <a:avLst/>
          </a:prstGeom>
        </p:spPr>
      </p:pic>
      <p:sp>
        <p:nvSpPr>
          <p:cNvPr id="6" name="Inhaltsplatzhalter 5"/>
          <p:cNvSpPr>
            <a:spLocks noGrp="1"/>
          </p:cNvSpPr>
          <p:nvPr>
            <p:ph sz="quarter" idx="16" hasCustomPrompt="1"/>
          </p:nvPr>
        </p:nvSpPr>
        <p:spPr>
          <a:xfrm>
            <a:off x="284904" y="1533024"/>
            <a:ext cx="4219882" cy="3910831"/>
          </a:xfrm>
        </p:spPr>
        <p:txBody>
          <a:bodyPr lIns="288000" rIns="28800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8994089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Inhalt links / 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533893B-821E-4ADE-9220-F4BFD56A94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08" imgH="408" progId="TCLayout.ActiveDocument.1">
                  <p:embed/>
                </p:oleObj>
              </mc:Choice>
              <mc:Fallback>
                <p:oleObj name="think-cell Folie" r:id="rId4" imgW="408" imgH="40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533893B-821E-4ADE-9220-F4BFD56A94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459E3539-5FD6-406C-97C0-23B63907A3A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2200" b="1" i="0" baseline="0" dirty="0">
              <a:solidFill>
                <a:schemeClr val="tx1"/>
              </a:solidFill>
              <a:latin typeface="STIHL Contraface Text"/>
              <a:ea typeface="+mj-ea"/>
              <a:cs typeface="+mj-cs"/>
              <a:sym typeface="STIHL Contraface Text"/>
            </a:endParaRP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3645C76C-2B5D-4ED3-8A37-4C9BFA9F1D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503546"/>
            <a:ext cx="9579925" cy="304699"/>
          </a:xfrm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lang="de-DE" sz="2200" dirty="0"/>
            </a:lvl1pPr>
          </a:lstStyle>
          <a:p>
            <a:pPr lvl="0"/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96910D21-640F-4D2A-A173-3AEDAE01B91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40007" y="1605435"/>
            <a:ext cx="5372567" cy="484934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lnSpc>
                <a:spcPct val="90000"/>
              </a:lnSpc>
              <a:defRPr lang="de-DE" dirty="0"/>
            </a:lvl1pPr>
          </a:lstStyle>
          <a:p>
            <a:pPr lvl="0"/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3" name="Textplatzhalter 8">
            <a:extLst>
              <a:ext uri="{FF2B5EF4-FFF2-40B4-BE49-F238E27FC236}">
                <a16:creationId xmlns:a16="http://schemas.microsoft.com/office/drawing/2014/main" id="{3F74B75A-3F3E-4E2B-84F3-277B54EBC3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7" y="1130300"/>
            <a:ext cx="11233147" cy="249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>
              <a:lnSpc>
                <a:spcPct val="90000"/>
              </a:lnSpc>
              <a:buNone/>
              <a:defRPr lang="de-DE" sz="1800" cap="none" baseline="0" dirty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114300" lvl="0" indent="-342900">
              <a:spcBef>
                <a:spcPct val="0"/>
              </a:spcBef>
            </a:pPr>
            <a:r>
              <a:rPr lang="de-DE" dirty="0"/>
              <a:t>Subheadline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5" hasCustomPrompt="1"/>
          </p:nvPr>
        </p:nvSpPr>
        <p:spPr>
          <a:xfrm>
            <a:off x="479426" y="1605435"/>
            <a:ext cx="5384332" cy="4849340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1550941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D9C97816-FB06-4E95-856C-7D63D0431A47}"/>
              </a:ext>
            </a:extLst>
          </p:cNvPr>
          <p:cNvGraphicFramePr>
            <a:graphicFrameLocks noChangeAspect="1"/>
          </p:cNvGraphicFramePr>
          <p:nvPr>
            <p:custDataLst>
              <p:tags r:id="rId25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7" imgW="408" imgH="408" progId="TCLayout.ActiveDocument.1">
                  <p:embed/>
                </p:oleObj>
              </mc:Choice>
              <mc:Fallback>
                <p:oleObj name="think-cell Folie" r:id="rId27" imgW="408" imgH="4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D9C97816-FB06-4E95-856C-7D63D0431A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5931360F-217C-4503-B09B-C80FE49E58A8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2200" b="1" i="0" baseline="0" dirty="0">
              <a:solidFill>
                <a:schemeClr val="tx1"/>
              </a:solidFill>
              <a:latin typeface="STIHL Contraface Text"/>
              <a:ea typeface="+mj-ea"/>
              <a:cs typeface="+mj-cs"/>
              <a:sym typeface="STIHL Contraface Text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47881EEE-4F13-4DC9-B8A4-B54C0C3C05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503546"/>
            <a:ext cx="9579925" cy="25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22C7C99F-364C-426F-8FE4-3FD5F0CADA8A}"/>
              </a:ext>
            </a:extLst>
          </p:cNvPr>
          <p:cNvSpPr txBox="1"/>
          <p:nvPr/>
        </p:nvSpPr>
        <p:spPr>
          <a:xfrm>
            <a:off x="479425" y="6592970"/>
            <a:ext cx="145392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de-DE" sz="800" dirty="0">
                <a:solidFill>
                  <a:schemeClr val="tx2"/>
                </a:solidFill>
              </a:rPr>
              <a:t>© ANDREAS STIHL AG &amp; Co. KG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B120AD0C-5E57-45D6-8C62-2EFE6678CD8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528228" y="6592970"/>
            <a:ext cx="184346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>
              <a:defRPr sz="800">
                <a:solidFill>
                  <a:schemeClr val="tx2"/>
                </a:solidFill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9pPr>
          </a:lstStyle>
          <a:p>
            <a:pPr lvl="0" algn="r"/>
            <a:fld id="{7AA7B471-74A3-4F5F-8955-6C99E2375CAC}" type="slidenum">
              <a:rPr lang="de-DE" noProof="1" smtClean="0">
                <a:sym typeface="+mn-lt"/>
              </a:rPr>
              <a:pPr lvl="0" algn="r"/>
              <a:t>‹Nr.›</a:t>
            </a:fld>
            <a:endParaRPr lang="de-DE" noProof="1">
              <a:sym typeface="+mn-lt"/>
            </a:endParaRPr>
          </a:p>
        </p:txBody>
      </p:sp>
      <p:cxnSp>
        <p:nvCxnSpPr>
          <p:cNvPr id="23" name="Gerade Verbindung 7">
            <a:extLst>
              <a:ext uri="{FF2B5EF4-FFF2-40B4-BE49-F238E27FC236}">
                <a16:creationId xmlns:a16="http://schemas.microsoft.com/office/drawing/2014/main" id="{28D584E0-5EF6-4DC5-B2D7-FFDA778CFAC1}"/>
              </a:ext>
            </a:extLst>
          </p:cNvPr>
          <p:cNvCxnSpPr>
            <a:cxnSpLocks/>
          </p:cNvCxnSpPr>
          <p:nvPr/>
        </p:nvCxnSpPr>
        <p:spPr>
          <a:xfrm>
            <a:off x="10059350" y="-190500"/>
            <a:ext cx="0" cy="126643"/>
          </a:xfrm>
          <a:prstGeom prst="line">
            <a:avLst/>
          </a:prstGeom>
          <a:ln w="12700" cap="rnd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531305B-43CE-446C-88D1-BBDB2745724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6" y="1130298"/>
            <a:ext cx="11233147" cy="532274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cxnSp>
        <p:nvCxnSpPr>
          <p:cNvPr id="18" name="Gerade Verbindung 7">
            <a:extLst>
              <a:ext uri="{FF2B5EF4-FFF2-40B4-BE49-F238E27FC236}">
                <a16:creationId xmlns:a16="http://schemas.microsoft.com/office/drawing/2014/main" id="{EFB36787-F98E-4B12-B104-EEBBD9EECC10}"/>
              </a:ext>
            </a:extLst>
          </p:cNvPr>
          <p:cNvCxnSpPr>
            <a:cxnSpLocks/>
          </p:cNvCxnSpPr>
          <p:nvPr/>
        </p:nvCxnSpPr>
        <p:spPr>
          <a:xfrm>
            <a:off x="902806" y="-190500"/>
            <a:ext cx="0" cy="126643"/>
          </a:xfrm>
          <a:prstGeom prst="line">
            <a:avLst/>
          </a:prstGeom>
          <a:ln w="12700" cap="rnd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7">
            <a:extLst>
              <a:ext uri="{FF2B5EF4-FFF2-40B4-BE49-F238E27FC236}">
                <a16:creationId xmlns:a16="http://schemas.microsoft.com/office/drawing/2014/main" id="{465918F8-CA5D-4293-89DC-F10E8B1C5462}"/>
              </a:ext>
            </a:extLst>
          </p:cNvPr>
          <p:cNvCxnSpPr>
            <a:cxnSpLocks/>
          </p:cNvCxnSpPr>
          <p:nvPr/>
        </p:nvCxnSpPr>
        <p:spPr>
          <a:xfrm>
            <a:off x="691116" y="-190500"/>
            <a:ext cx="0" cy="126643"/>
          </a:xfrm>
          <a:prstGeom prst="line">
            <a:avLst/>
          </a:prstGeom>
          <a:ln w="12700" cap="rnd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7">
            <a:extLst>
              <a:ext uri="{FF2B5EF4-FFF2-40B4-BE49-F238E27FC236}">
                <a16:creationId xmlns:a16="http://schemas.microsoft.com/office/drawing/2014/main" id="{160AE795-C735-4204-9FF6-8CD4C42875B3}"/>
              </a:ext>
            </a:extLst>
          </p:cNvPr>
          <p:cNvCxnSpPr>
            <a:cxnSpLocks/>
          </p:cNvCxnSpPr>
          <p:nvPr/>
        </p:nvCxnSpPr>
        <p:spPr>
          <a:xfrm>
            <a:off x="479426" y="-190500"/>
            <a:ext cx="0" cy="126643"/>
          </a:xfrm>
          <a:prstGeom prst="line">
            <a:avLst/>
          </a:prstGeom>
          <a:ln w="12700" cap="rnd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7">
            <a:extLst>
              <a:ext uri="{FF2B5EF4-FFF2-40B4-BE49-F238E27FC236}">
                <a16:creationId xmlns:a16="http://schemas.microsoft.com/office/drawing/2014/main" id="{0F42B521-F5CC-46CF-86E8-5B383F9E4C65}"/>
              </a:ext>
            </a:extLst>
          </p:cNvPr>
          <p:cNvCxnSpPr>
            <a:cxnSpLocks/>
          </p:cNvCxnSpPr>
          <p:nvPr/>
        </p:nvCxnSpPr>
        <p:spPr>
          <a:xfrm rot="5400000">
            <a:off x="-160655" y="196071"/>
            <a:ext cx="0" cy="126643"/>
          </a:xfrm>
          <a:prstGeom prst="line">
            <a:avLst/>
          </a:prstGeom>
          <a:ln w="12700" cap="rnd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30262" y="502821"/>
            <a:ext cx="1385810" cy="287488"/>
          </a:xfrm>
          <a:prstGeom prst="rect">
            <a:avLst/>
          </a:prstGeom>
        </p:spPr>
      </p:pic>
      <p:sp>
        <p:nvSpPr>
          <p:cNvPr id="4" name="Textfeld 3">
            <a:extLst>
              <a:ext uri="{FF2B5EF4-FFF2-40B4-BE49-F238E27FC236}">
                <a16:creationId xmlns:a16="http://schemas.microsoft.com/office/drawing/2014/main" id="{37C68347-37D2-6639-D546-98BE818264C2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5672900" y="63500"/>
            <a:ext cx="881062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de-AT" sz="1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n | Internal</a:t>
            </a:r>
          </a:p>
        </p:txBody>
      </p:sp>
    </p:spTree>
    <p:extLst>
      <p:ext uri="{BB962C8B-B14F-4D97-AF65-F5344CB8AC3E}">
        <p14:creationId xmlns:p14="http://schemas.microsoft.com/office/powerpoint/2010/main" val="15782858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200" b="1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lang="de-DE" sz="18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tabLst/>
        <a:defRPr lang="de-DE" sz="18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58775" indent="-182563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lang="de-DE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6213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lang="de-DE" sz="14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719138" indent="-18415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lang="de-DE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3155950" indent="-26225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de-DE" sz="1800" kern="1200" dirty="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301">
          <p15:clr>
            <a:srgbClr val="F26B43"/>
          </p15:clr>
        </p15:guide>
        <p15:guide id="4" pos="7379">
          <p15:clr>
            <a:srgbClr val="F26B43"/>
          </p15:clr>
        </p15:guide>
        <p15:guide id="5" orient="horz" pos="317">
          <p15:clr>
            <a:srgbClr val="F26B43"/>
          </p15:clr>
        </p15:guide>
        <p15:guide id="10" orient="horz" pos="4066">
          <p15:clr>
            <a:srgbClr val="F26B43"/>
          </p15:clr>
        </p15:guide>
        <p15:guide id="11" orient="horz" pos="1010">
          <p15:clr>
            <a:srgbClr val="F26B43"/>
          </p15:clr>
        </p15:guide>
        <p15:guide id="13" orient="horz" pos="712">
          <p15:clr>
            <a:srgbClr val="F26B43"/>
          </p15:clr>
        </p15:guide>
        <p15:guide id="14" orient="horz" pos="1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B6B7F04-FD2B-2ADB-8243-7E76AED583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F422FFA-04AF-1EFC-9C7F-5C9DD02193D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C4313A85-909B-2786-C15C-8FFA42706433}"/>
              </a:ext>
            </a:extLst>
          </p:cNvPr>
          <p:cNvSpPr txBox="1"/>
          <p:nvPr/>
        </p:nvSpPr>
        <p:spPr>
          <a:xfrm>
            <a:off x="4281442" y="2435551"/>
            <a:ext cx="3016665" cy="387798"/>
          </a:xfrm>
          <a:prstGeom prst="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</a:pPr>
            <a:r>
              <a:rPr lang="de-AT" sz="2800" dirty="0"/>
              <a:t>Robotersteuerung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C2F2FB90-754E-94AD-9898-072FDE53B9BE}"/>
              </a:ext>
            </a:extLst>
          </p:cNvPr>
          <p:cNvSpPr txBox="1"/>
          <p:nvPr/>
        </p:nvSpPr>
        <p:spPr>
          <a:xfrm>
            <a:off x="4281442" y="4280018"/>
            <a:ext cx="3016665" cy="387798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38100"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</a:pPr>
            <a:r>
              <a:rPr lang="de-AT" sz="2800" dirty="0"/>
              <a:t>Umgebungsmodell</a:t>
            </a:r>
          </a:p>
        </p:txBody>
      </p:sp>
      <p:sp>
        <p:nvSpPr>
          <p:cNvPr id="19" name="Freihandform: Form 18">
            <a:extLst>
              <a:ext uri="{FF2B5EF4-FFF2-40B4-BE49-F238E27FC236}">
                <a16:creationId xmlns:a16="http://schemas.microsoft.com/office/drawing/2014/main" id="{EEC954F9-3ECB-259D-A831-166A861941FC}"/>
              </a:ext>
            </a:extLst>
          </p:cNvPr>
          <p:cNvSpPr/>
          <p:nvPr/>
        </p:nvSpPr>
        <p:spPr>
          <a:xfrm>
            <a:off x="7298108" y="2623559"/>
            <a:ext cx="1956987" cy="1871529"/>
          </a:xfrm>
          <a:custGeom>
            <a:avLst/>
            <a:gdLst>
              <a:gd name="connsiteX0" fmla="*/ 0 w 1956987"/>
              <a:gd name="connsiteY0" fmla="*/ 0 h 1871529"/>
              <a:gd name="connsiteX1" fmla="*/ 1956987 w 1956987"/>
              <a:gd name="connsiteY1" fmla="*/ 0 h 1871529"/>
              <a:gd name="connsiteX2" fmla="*/ 1956987 w 1956987"/>
              <a:gd name="connsiteY2" fmla="*/ 1871529 h 1871529"/>
              <a:gd name="connsiteX3" fmla="*/ 8546 w 1956987"/>
              <a:gd name="connsiteY3" fmla="*/ 1871529 h 1871529"/>
              <a:gd name="connsiteX4" fmla="*/ 8546 w 1956987"/>
              <a:gd name="connsiteY4" fmla="*/ 1871529 h 1871529"/>
              <a:gd name="connsiteX5" fmla="*/ 0 w 1956987"/>
              <a:gd name="connsiteY5" fmla="*/ 1871529 h 18715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56987" h="1871529">
                <a:moveTo>
                  <a:pt x="0" y="0"/>
                </a:moveTo>
                <a:lnTo>
                  <a:pt x="1956987" y="0"/>
                </a:lnTo>
                <a:lnTo>
                  <a:pt x="1956987" y="1871529"/>
                </a:lnTo>
                <a:lnTo>
                  <a:pt x="8546" y="1871529"/>
                </a:lnTo>
                <a:lnTo>
                  <a:pt x="8546" y="1871529"/>
                </a:lnTo>
                <a:lnTo>
                  <a:pt x="0" y="1871529"/>
                </a:lnTo>
              </a:path>
            </a:pathLst>
          </a:custGeom>
          <a:noFill/>
          <a:ln w="38100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20" name="Freihandform: Form 19">
            <a:extLst>
              <a:ext uri="{FF2B5EF4-FFF2-40B4-BE49-F238E27FC236}">
                <a16:creationId xmlns:a16="http://schemas.microsoft.com/office/drawing/2014/main" id="{B66897CD-161E-E97A-BD4F-B0E933892E80}"/>
              </a:ext>
            </a:extLst>
          </p:cNvPr>
          <p:cNvSpPr/>
          <p:nvPr/>
        </p:nvSpPr>
        <p:spPr>
          <a:xfrm rot="10800000">
            <a:off x="2324454" y="2602388"/>
            <a:ext cx="1956987" cy="1871529"/>
          </a:xfrm>
          <a:custGeom>
            <a:avLst/>
            <a:gdLst>
              <a:gd name="connsiteX0" fmla="*/ 0 w 1956987"/>
              <a:gd name="connsiteY0" fmla="*/ 0 h 1871529"/>
              <a:gd name="connsiteX1" fmla="*/ 1956987 w 1956987"/>
              <a:gd name="connsiteY1" fmla="*/ 0 h 1871529"/>
              <a:gd name="connsiteX2" fmla="*/ 1956987 w 1956987"/>
              <a:gd name="connsiteY2" fmla="*/ 1871529 h 1871529"/>
              <a:gd name="connsiteX3" fmla="*/ 8546 w 1956987"/>
              <a:gd name="connsiteY3" fmla="*/ 1871529 h 1871529"/>
              <a:gd name="connsiteX4" fmla="*/ 8546 w 1956987"/>
              <a:gd name="connsiteY4" fmla="*/ 1871529 h 1871529"/>
              <a:gd name="connsiteX5" fmla="*/ 0 w 1956987"/>
              <a:gd name="connsiteY5" fmla="*/ 1871529 h 18715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56987" h="1871529">
                <a:moveTo>
                  <a:pt x="0" y="0"/>
                </a:moveTo>
                <a:lnTo>
                  <a:pt x="1956987" y="0"/>
                </a:lnTo>
                <a:lnTo>
                  <a:pt x="1956987" y="1871529"/>
                </a:lnTo>
                <a:lnTo>
                  <a:pt x="8546" y="1871529"/>
                </a:lnTo>
                <a:lnTo>
                  <a:pt x="8546" y="1871529"/>
                </a:lnTo>
                <a:lnTo>
                  <a:pt x="0" y="1871529"/>
                </a:lnTo>
              </a:path>
            </a:pathLst>
          </a:custGeom>
          <a:noFill/>
          <a:ln w="38100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2EA0114-F5F8-8A86-9CE8-B6385819017D}"/>
              </a:ext>
            </a:extLst>
          </p:cNvPr>
          <p:cNvSpPr txBox="1"/>
          <p:nvPr/>
        </p:nvSpPr>
        <p:spPr>
          <a:xfrm>
            <a:off x="7563028" y="2365714"/>
            <a:ext cx="1692067" cy="2215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r>
              <a:rPr lang="de-AT" sz="1600" dirty="0"/>
              <a:t>Sollbewegungen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AAED1C44-A2FA-DD65-BD6F-6FBDB1C1E0BA}"/>
              </a:ext>
            </a:extLst>
          </p:cNvPr>
          <p:cNvSpPr txBox="1"/>
          <p:nvPr/>
        </p:nvSpPr>
        <p:spPr>
          <a:xfrm>
            <a:off x="2589374" y="2324751"/>
            <a:ext cx="1692067" cy="2215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r>
              <a:rPr lang="de-AT" sz="1600" dirty="0"/>
              <a:t>Sensordaten</a:t>
            </a:r>
          </a:p>
        </p:txBody>
      </p:sp>
    </p:spTree>
    <p:extLst>
      <p:ext uri="{BB962C8B-B14F-4D97-AF65-F5344CB8AC3E}">
        <p14:creationId xmlns:p14="http://schemas.microsoft.com/office/powerpoint/2010/main" val="1727359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57447E-5AE2-0139-D9F7-36D4C296A0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6C17462-8B7E-E4E8-8784-51F9335FDA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59D722F-7838-DA1F-2B57-ADA51ACAA52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24BF8DD0-217D-77F1-6F0D-13145B9A0757}"/>
              </a:ext>
            </a:extLst>
          </p:cNvPr>
          <p:cNvSpPr txBox="1"/>
          <p:nvPr/>
        </p:nvSpPr>
        <p:spPr>
          <a:xfrm>
            <a:off x="4281442" y="2435551"/>
            <a:ext cx="3016665" cy="387798"/>
          </a:xfrm>
          <a:prstGeom prst="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</a:pPr>
            <a:r>
              <a:rPr lang="de-AT" sz="2800" dirty="0"/>
              <a:t>Robotersteuerung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E4D8394F-78FC-41B8-C19D-13EFB8EBDEC5}"/>
              </a:ext>
            </a:extLst>
          </p:cNvPr>
          <p:cNvSpPr txBox="1"/>
          <p:nvPr/>
        </p:nvSpPr>
        <p:spPr>
          <a:xfrm>
            <a:off x="2481129" y="3832845"/>
            <a:ext cx="7765278" cy="1705082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38100"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</a:pPr>
            <a:r>
              <a:rPr lang="de-AT" sz="2800" dirty="0"/>
              <a:t>Umgebungsmodell</a:t>
            </a:r>
          </a:p>
          <a:p>
            <a:pPr algn="ctr">
              <a:lnSpc>
                <a:spcPct val="90000"/>
              </a:lnSpc>
              <a:spcBef>
                <a:spcPts val="400"/>
              </a:spcBef>
            </a:pPr>
            <a:endParaRPr lang="de-AT" sz="2800" dirty="0"/>
          </a:p>
          <a:p>
            <a:pPr algn="ctr">
              <a:lnSpc>
                <a:spcPct val="90000"/>
              </a:lnSpc>
              <a:spcBef>
                <a:spcPts val="400"/>
              </a:spcBef>
            </a:pPr>
            <a:endParaRPr lang="de-AT" sz="2800" dirty="0"/>
          </a:p>
          <a:p>
            <a:pPr algn="ctr">
              <a:lnSpc>
                <a:spcPct val="90000"/>
              </a:lnSpc>
              <a:spcBef>
                <a:spcPts val="400"/>
              </a:spcBef>
            </a:pPr>
            <a:endParaRPr lang="de-AT" sz="28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1" name="Textfeld 20">
                <a:extLst>
                  <a:ext uri="{FF2B5EF4-FFF2-40B4-BE49-F238E27FC236}">
                    <a16:creationId xmlns:a16="http://schemas.microsoft.com/office/drawing/2014/main" id="{BED95888-BDF3-D35A-3453-25D59369E1D5}"/>
                  </a:ext>
                </a:extLst>
              </p:cNvPr>
              <p:cNvSpPr txBox="1"/>
              <p:nvPr/>
            </p:nvSpPr>
            <p:spPr>
              <a:xfrm>
                <a:off x="7563028" y="2365714"/>
                <a:ext cx="3136307" cy="49449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90000"/>
                  </a:lnSpc>
                  <a:spcBef>
                    <a:spcPts val="400"/>
                  </a:spcBef>
                </a:pPr>
                <a:r>
                  <a:rPr lang="de-AT" sz="1600" dirty="0"/>
                  <a:t>Soll-Geschwindigkeit </a:t>
                </a:r>
                <a:r>
                  <a:rPr lang="de-DE" sz="1600" dirty="0"/>
                  <a:t>(</a:t>
                </a:r>
                <a14:m>
                  <m:oMath xmlns:m="http://schemas.openxmlformats.org/officeDocument/2006/math">
                    <m:r>
                      <a:rPr lang="de-DE" sz="1600" i="1" dirty="0">
                        <a:latin typeface="Cambria Math" panose="02040503050406030204" pitchFamily="18" charset="0"/>
                      </a:rPr>
                      <m:t>𝑣</m:t>
                    </m:r>
                    <m:r>
                      <a:rPr lang="de-DE" sz="1600" i="1" dirty="0">
                        <a:latin typeface="Cambria Math" panose="02040503050406030204" pitchFamily="18" charset="0"/>
                      </a:rPr>
                      <m:t>,</m:t>
                    </m:r>
                    <m:r>
                      <a:rPr lang="de-DE" sz="1600" i="1" dirty="0">
                        <a:latin typeface="Cambria Math" panose="02040503050406030204" pitchFamily="18" charset="0"/>
                      </a:rPr>
                      <m:t>𝜔</m:t>
                    </m:r>
                  </m:oMath>
                </a14:m>
                <a:r>
                  <a:rPr lang="de-DE" sz="1600" dirty="0"/>
                  <a:t>)</a:t>
                </a:r>
              </a:p>
              <a:p>
                <a:pPr algn="l">
                  <a:lnSpc>
                    <a:spcPct val="90000"/>
                  </a:lnSpc>
                  <a:spcBef>
                    <a:spcPts val="400"/>
                  </a:spcBef>
                </a:pPr>
                <a:endParaRPr lang="de-AT" sz="1600" dirty="0"/>
              </a:p>
            </p:txBody>
          </p:sp>
        </mc:Choice>
        <mc:Fallback xmlns="">
          <p:sp>
            <p:nvSpPr>
              <p:cNvPr id="21" name="Textfeld 20">
                <a:extLst>
                  <a:ext uri="{FF2B5EF4-FFF2-40B4-BE49-F238E27FC236}">
                    <a16:creationId xmlns:a16="http://schemas.microsoft.com/office/drawing/2014/main" id="{BED95888-BDF3-D35A-3453-25D59369E1D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563028" y="2365714"/>
                <a:ext cx="3136307" cy="494494"/>
              </a:xfrm>
              <a:prstGeom prst="rect">
                <a:avLst/>
              </a:prstGeom>
              <a:blipFill>
                <a:blip r:embed="rId2"/>
                <a:stretch>
                  <a:fillRect l="-4086" t="-17284"/>
                </a:stretch>
              </a:blipFill>
            </p:spPr>
            <p:txBody>
              <a:bodyPr/>
              <a:lstStyle/>
              <a:p>
                <a:r>
                  <a:rPr lang="de-AT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2" name="Textfeld 21">
            <a:extLst>
              <a:ext uri="{FF2B5EF4-FFF2-40B4-BE49-F238E27FC236}">
                <a16:creationId xmlns:a16="http://schemas.microsoft.com/office/drawing/2014/main" id="{D8CCCBAE-BFEB-EBC0-CCB2-45A167E2B634}"/>
              </a:ext>
            </a:extLst>
          </p:cNvPr>
          <p:cNvSpPr txBox="1"/>
          <p:nvPr/>
        </p:nvSpPr>
        <p:spPr>
          <a:xfrm>
            <a:off x="2173002" y="2389095"/>
            <a:ext cx="1692067" cy="2215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r>
              <a:rPr lang="de-AT" sz="1600" dirty="0"/>
              <a:t>Drahtsensordaten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B9A605D5-5C08-F2EE-4118-D7A09143B02A}"/>
              </a:ext>
            </a:extLst>
          </p:cNvPr>
          <p:cNvSpPr txBox="1"/>
          <p:nvPr/>
        </p:nvSpPr>
        <p:spPr>
          <a:xfrm>
            <a:off x="7663204" y="4818729"/>
            <a:ext cx="2184399" cy="22159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</a:pPr>
            <a:r>
              <a:rPr lang="de-AT" sz="1600" dirty="0"/>
              <a:t>Bewegungsgleichungen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1B6C321D-0F42-B978-A91E-D960332009D5}"/>
              </a:ext>
            </a:extLst>
          </p:cNvPr>
          <p:cNvSpPr txBox="1"/>
          <p:nvPr/>
        </p:nvSpPr>
        <p:spPr>
          <a:xfrm>
            <a:off x="5369605" y="4818960"/>
            <a:ext cx="1386317" cy="22159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</a:pPr>
            <a:r>
              <a:rPr lang="de-AT" sz="1600" dirty="0"/>
              <a:t>Integration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0B338A13-E93C-AD84-F84C-1C8F299DF9A4}"/>
              </a:ext>
            </a:extLst>
          </p:cNvPr>
          <p:cNvSpPr txBox="1"/>
          <p:nvPr/>
        </p:nvSpPr>
        <p:spPr>
          <a:xfrm>
            <a:off x="2848598" y="4818728"/>
            <a:ext cx="1757107" cy="22159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</a:pPr>
            <a:r>
              <a:rPr lang="de-AT" sz="1600" dirty="0"/>
              <a:t>Drahtsensormodell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feld 9">
                <a:extLst>
                  <a:ext uri="{FF2B5EF4-FFF2-40B4-BE49-F238E27FC236}">
                    <a16:creationId xmlns:a16="http://schemas.microsoft.com/office/drawing/2014/main" id="{92DC0F83-51EF-6D57-F093-88CC68B82352}"/>
                  </a:ext>
                </a:extLst>
              </p:cNvPr>
              <p:cNvSpPr txBox="1"/>
              <p:nvPr/>
            </p:nvSpPr>
            <p:spPr>
              <a:xfrm>
                <a:off x="6892654" y="4693629"/>
                <a:ext cx="376015" cy="25019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90000"/>
                  </a:lnSpc>
                  <a:spcBef>
                    <a:spcPts val="400"/>
                  </a:spcBef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ctrlPr>
                            <a:rPr lang="de-AT" sz="16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acc>
                            <m:accPr>
                              <m:chr m:val="̇"/>
                              <m:ctrlPr>
                                <a:rPr lang="de-AT" sz="1600" i="1" smtClean="0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de-AT" sz="1600" b="0" i="1" smtClean="0">
                                  <a:latin typeface="Cambria Math" panose="020F0502020204030204" pitchFamily="18" charset="0"/>
                                </a:rPr>
                                <m:t>𝑥</m:t>
                              </m:r>
                            </m:e>
                          </m:acc>
                          <m:r>
                            <a:rPr lang="de-AT" sz="1600" i="1">
                              <a:latin typeface="Cambria Math" panose="020F0502020204030204" pitchFamily="18" charset="0"/>
                            </a:rPr>
                            <m:t>,</m:t>
                          </m:r>
                          <m:acc>
                            <m:accPr>
                              <m:chr m:val="̇"/>
                              <m:ctrlPr>
                                <a:rPr lang="de-AT" sz="1600" i="1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de-AT" sz="1600" b="0" i="1" smtClean="0">
                                  <a:latin typeface="Cambria Math" panose="020F0502020204030204" pitchFamily="18" charset="0"/>
                                </a:rPr>
                                <m:t>𝑦</m:t>
                              </m:r>
                            </m:e>
                          </m:acc>
                          <m:r>
                            <a:rPr lang="de-AT" sz="1600" b="0" i="1" smtClean="0">
                              <a:latin typeface="Cambria Math" panose="020F0502020204030204" pitchFamily="18" charset="0"/>
                            </a:rPr>
                            <m:t>,</m:t>
                          </m:r>
                          <m:acc>
                            <m:accPr>
                              <m:chr m:val="̇"/>
                              <m:ctrlPr>
                                <a:rPr lang="de-AT" sz="1600" i="1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de-AT" sz="1600" b="0" i="1" smtClean="0">
                                  <a:latin typeface="Cambria Math" panose="020F0502020204030204" pitchFamily="18" charset="0"/>
                                </a:rPr>
                                <m:t>𝜓</m:t>
                              </m:r>
                            </m:e>
                          </m:acc>
                        </m:e>
                      </m:d>
                    </m:oMath>
                  </m:oMathPara>
                </a14:m>
                <a:endParaRPr lang="de-AT" sz="1600" dirty="0"/>
              </a:p>
            </p:txBody>
          </p:sp>
        </mc:Choice>
        <mc:Fallback xmlns="">
          <p:sp>
            <p:nvSpPr>
              <p:cNvPr id="10" name="Textfeld 9">
                <a:extLst>
                  <a:ext uri="{FF2B5EF4-FFF2-40B4-BE49-F238E27FC236}">
                    <a16:creationId xmlns:a16="http://schemas.microsoft.com/office/drawing/2014/main" id="{92DC0F83-51EF-6D57-F093-88CC68B8235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92654" y="4693629"/>
                <a:ext cx="376015" cy="250197"/>
              </a:xfrm>
              <a:prstGeom prst="rect">
                <a:avLst/>
              </a:prstGeom>
              <a:blipFill>
                <a:blip r:embed="rId3"/>
                <a:stretch>
                  <a:fillRect t="-24390" r="-100000" b="-26829"/>
                </a:stretch>
              </a:blipFill>
            </p:spPr>
            <p:txBody>
              <a:bodyPr/>
              <a:lstStyle/>
              <a:p>
                <a:r>
                  <a:rPr lang="de-AT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feld 10">
                <a:extLst>
                  <a:ext uri="{FF2B5EF4-FFF2-40B4-BE49-F238E27FC236}">
                    <a16:creationId xmlns:a16="http://schemas.microsoft.com/office/drawing/2014/main" id="{4AB35C4A-DE88-A0CF-EB26-651B82BBF20C}"/>
                  </a:ext>
                </a:extLst>
              </p:cNvPr>
              <p:cNvSpPr txBox="1"/>
              <p:nvPr/>
            </p:nvSpPr>
            <p:spPr>
              <a:xfrm>
                <a:off x="4646776" y="4676344"/>
                <a:ext cx="376015" cy="2215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400"/>
                  </a:spcBef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AT" sz="1600" b="0" i="1" smtClean="0">
                          <a:latin typeface="Cambria Math" panose="020F0502020204030204" pitchFamily="18" charset="0"/>
                        </a:rPr>
                        <m:t>(</m:t>
                      </m:r>
                      <m:r>
                        <a:rPr lang="de-AT" sz="1600" b="0" i="1" smtClean="0">
                          <a:latin typeface="Cambria Math" panose="020F0502020204030204" pitchFamily="18" charset="0"/>
                        </a:rPr>
                        <m:t>𝑥</m:t>
                      </m:r>
                      <m:r>
                        <a:rPr lang="de-AT" sz="1600" b="0" i="1" smtClean="0">
                          <a:latin typeface="Cambria Math" panose="020F0502020204030204" pitchFamily="18" charset="0"/>
                        </a:rPr>
                        <m:t>,</m:t>
                      </m:r>
                      <m:r>
                        <a:rPr lang="de-AT" sz="1600" b="0" i="1" smtClean="0">
                          <a:latin typeface="Cambria Math" panose="020F0502020204030204" pitchFamily="18" charset="0"/>
                        </a:rPr>
                        <m:t>𝑦</m:t>
                      </m:r>
                      <m:r>
                        <a:rPr lang="de-AT" sz="1600" b="0" i="1" smtClean="0">
                          <a:latin typeface="Cambria Math" panose="020F0502020204030204" pitchFamily="18" charset="0"/>
                        </a:rPr>
                        <m:t>,</m:t>
                      </m:r>
                      <m:r>
                        <a:rPr lang="de-AT" sz="1600" b="0" i="1" smtClean="0">
                          <a:latin typeface="Cambria Math" panose="020F0502020204030204" pitchFamily="18" charset="0"/>
                        </a:rPr>
                        <m:t>𝜓</m:t>
                      </m:r>
                      <m:r>
                        <a:rPr lang="de-AT" sz="1600" b="0" i="1" smtClean="0">
                          <a:latin typeface="Cambria Math" panose="020F0502020204030204" pitchFamily="18" charset="0"/>
                        </a:rPr>
                        <m:t>)</m:t>
                      </m:r>
                    </m:oMath>
                  </m:oMathPara>
                </a14:m>
                <a:endParaRPr lang="de-AT" sz="1600" dirty="0"/>
              </a:p>
            </p:txBody>
          </p:sp>
        </mc:Choice>
        <mc:Fallback xmlns="">
          <p:sp>
            <p:nvSpPr>
              <p:cNvPr id="11" name="Textfeld 10">
                <a:extLst>
                  <a:ext uri="{FF2B5EF4-FFF2-40B4-BE49-F238E27FC236}">
                    <a16:creationId xmlns:a16="http://schemas.microsoft.com/office/drawing/2014/main" id="{4AB35C4A-DE88-A0CF-EB26-651B82BBF20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46776" y="4676344"/>
                <a:ext cx="376015" cy="221599"/>
              </a:xfrm>
              <a:prstGeom prst="rect">
                <a:avLst/>
              </a:prstGeom>
              <a:blipFill>
                <a:blip r:embed="rId4"/>
                <a:stretch>
                  <a:fillRect l="-24194" t="-11111" r="-109677" b="-38889"/>
                </a:stretch>
              </a:blipFill>
            </p:spPr>
            <p:txBody>
              <a:bodyPr/>
              <a:lstStyle/>
              <a:p>
                <a:r>
                  <a:rPr lang="de-AT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Textfeld 11">
            <a:extLst>
              <a:ext uri="{FF2B5EF4-FFF2-40B4-BE49-F238E27FC236}">
                <a16:creationId xmlns:a16="http://schemas.microsoft.com/office/drawing/2014/main" id="{D343F322-A345-0123-B5CB-A7A0F17A2CE6}"/>
              </a:ext>
            </a:extLst>
          </p:cNvPr>
          <p:cNvSpPr txBox="1"/>
          <p:nvPr/>
        </p:nvSpPr>
        <p:spPr>
          <a:xfrm>
            <a:off x="3314550" y="4454745"/>
            <a:ext cx="825203" cy="22159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</a:pPr>
            <a:r>
              <a:rPr lang="de-AT" sz="1600" dirty="0"/>
              <a:t>Garten</a:t>
            </a:r>
          </a:p>
        </p:txBody>
      </p: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65F4B26E-FC2C-47E3-D6FA-A352ACE2F27A}"/>
              </a:ext>
            </a:extLst>
          </p:cNvPr>
          <p:cNvCxnSpPr>
            <a:stCxn id="5" idx="3"/>
          </p:cNvCxnSpPr>
          <p:nvPr/>
        </p:nvCxnSpPr>
        <p:spPr>
          <a:xfrm>
            <a:off x="7298107" y="2629450"/>
            <a:ext cx="3537960" cy="0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E6AA57FF-9ADF-3F80-8D48-0C44080122CA}"/>
              </a:ext>
            </a:extLst>
          </p:cNvPr>
          <p:cNvCxnSpPr>
            <a:cxnSpLocks/>
          </p:cNvCxnSpPr>
          <p:nvPr/>
        </p:nvCxnSpPr>
        <p:spPr>
          <a:xfrm flipH="1" flipV="1">
            <a:off x="10836067" y="2629450"/>
            <a:ext cx="16144" cy="2307066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6E4C1B07-6ED1-5202-0DC2-2A022BFE1E08}"/>
              </a:ext>
            </a:extLst>
          </p:cNvPr>
          <p:cNvCxnSpPr>
            <a:cxnSpLocks/>
            <a:endCxn id="4" idx="3"/>
          </p:cNvCxnSpPr>
          <p:nvPr/>
        </p:nvCxnSpPr>
        <p:spPr>
          <a:xfrm flipH="1">
            <a:off x="9847603" y="4929527"/>
            <a:ext cx="997011" cy="2"/>
          </a:xfrm>
          <a:prstGeom prst="straightConnector1">
            <a:avLst/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766044CC-70B6-6906-D6C0-AE5E08C8BCA4}"/>
              </a:ext>
            </a:extLst>
          </p:cNvPr>
          <p:cNvCxnSpPr>
            <a:cxnSpLocks/>
            <a:stCxn id="4" idx="1"/>
            <a:endCxn id="7" idx="3"/>
          </p:cNvCxnSpPr>
          <p:nvPr/>
        </p:nvCxnSpPr>
        <p:spPr>
          <a:xfrm flipH="1">
            <a:off x="6755922" y="4929529"/>
            <a:ext cx="907282" cy="231"/>
          </a:xfrm>
          <a:prstGeom prst="straightConnector1">
            <a:avLst/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37E35B89-37E8-9F7E-EF6B-727E7DBD4BD2}"/>
              </a:ext>
            </a:extLst>
          </p:cNvPr>
          <p:cNvCxnSpPr>
            <a:cxnSpLocks/>
            <a:stCxn id="7" idx="1"/>
          </p:cNvCxnSpPr>
          <p:nvPr/>
        </p:nvCxnSpPr>
        <p:spPr>
          <a:xfrm flipH="1" flipV="1">
            <a:off x="4614249" y="4927707"/>
            <a:ext cx="755356" cy="2053"/>
          </a:xfrm>
          <a:prstGeom prst="straightConnector1">
            <a:avLst/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mit Pfeil 34">
            <a:extLst>
              <a:ext uri="{FF2B5EF4-FFF2-40B4-BE49-F238E27FC236}">
                <a16:creationId xmlns:a16="http://schemas.microsoft.com/office/drawing/2014/main" id="{A61E749F-93BF-B427-EC3B-88F4294A43BF}"/>
              </a:ext>
            </a:extLst>
          </p:cNvPr>
          <p:cNvCxnSpPr>
            <a:cxnSpLocks/>
            <a:endCxn id="5" idx="1"/>
          </p:cNvCxnSpPr>
          <p:nvPr/>
        </p:nvCxnSpPr>
        <p:spPr>
          <a:xfrm>
            <a:off x="1991170" y="2629450"/>
            <a:ext cx="2290272" cy="0"/>
          </a:xfrm>
          <a:prstGeom prst="straightConnector1">
            <a:avLst/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B17B0AC5-CB61-77DD-8880-2F1DD589E614}"/>
              </a:ext>
            </a:extLst>
          </p:cNvPr>
          <p:cNvCxnSpPr>
            <a:cxnSpLocks/>
          </p:cNvCxnSpPr>
          <p:nvPr/>
        </p:nvCxnSpPr>
        <p:spPr>
          <a:xfrm flipH="1" flipV="1">
            <a:off x="2014789" y="2612961"/>
            <a:ext cx="16144" cy="2307066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92684BAD-70E6-379E-1C7B-A74F79D88FD4}"/>
              </a:ext>
            </a:extLst>
          </p:cNvPr>
          <p:cNvCxnSpPr>
            <a:cxnSpLocks/>
            <a:endCxn id="8" idx="1"/>
          </p:cNvCxnSpPr>
          <p:nvPr/>
        </p:nvCxnSpPr>
        <p:spPr>
          <a:xfrm flipV="1">
            <a:off x="2014789" y="4929528"/>
            <a:ext cx="833809" cy="6988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F8850E79-4C27-DC12-6A9A-0E2066485E60}"/>
              </a:ext>
            </a:extLst>
          </p:cNvPr>
          <p:cNvCxnSpPr>
            <a:cxnSpLocks/>
            <a:stCxn id="12" idx="2"/>
            <a:endCxn id="8" idx="0"/>
          </p:cNvCxnSpPr>
          <p:nvPr/>
        </p:nvCxnSpPr>
        <p:spPr>
          <a:xfrm>
            <a:off x="3727152" y="4676344"/>
            <a:ext cx="0" cy="142384"/>
          </a:xfrm>
          <a:prstGeom prst="straightConnector1">
            <a:avLst/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7255767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2F8DD60-C544-25A7-662E-D81AA42A1F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1F53B52-9028-59A7-481D-A96353082C1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AT"/>
          </a:p>
        </p:txBody>
      </p: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62145B3B-FDE2-5B59-AA06-5F32121B0FE2}"/>
              </a:ext>
            </a:extLst>
          </p:cNvPr>
          <p:cNvGrpSpPr/>
          <p:nvPr/>
        </p:nvGrpSpPr>
        <p:grpSpPr>
          <a:xfrm rot="3355782">
            <a:off x="4777766" y="2018848"/>
            <a:ext cx="4067130" cy="2706490"/>
            <a:chOff x="4128287" y="2559723"/>
            <a:chExt cx="4067130" cy="2706490"/>
          </a:xfrm>
        </p:grpSpPr>
        <p:pic>
          <p:nvPicPr>
            <p:cNvPr id="47106" name="Picture 2" descr="Stihl – iMOW 6 EVO – Mähroboter in Mistelbach (bei Wien) kaufen – Wir  lieben Technik ;-)">
              <a:extLst>
                <a:ext uri="{FF2B5EF4-FFF2-40B4-BE49-F238E27FC236}">
                  <a16:creationId xmlns:a16="http://schemas.microsoft.com/office/drawing/2014/main" id="{B228ECE2-7DBF-DD2B-8972-9AE5630BA7C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28287" y="2559723"/>
              <a:ext cx="4067130" cy="27064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6" name="Gerader Verbinder 5">
              <a:extLst>
                <a:ext uri="{FF2B5EF4-FFF2-40B4-BE49-F238E27FC236}">
                  <a16:creationId xmlns:a16="http://schemas.microsoft.com/office/drawing/2014/main" id="{F14AAB56-BDCB-373D-D878-199546E51E4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393060" y="4289988"/>
              <a:ext cx="1656000" cy="0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r Verbinder 7">
              <a:extLst>
                <a:ext uri="{FF2B5EF4-FFF2-40B4-BE49-F238E27FC236}">
                  <a16:creationId xmlns:a16="http://schemas.microsoft.com/office/drawing/2014/main" id="{AF950DF5-F595-2164-1DE4-AED4720503B6}"/>
                </a:ext>
              </a:extLst>
            </p:cNvPr>
            <p:cNvCxnSpPr>
              <a:cxnSpLocks/>
            </p:cNvCxnSpPr>
            <p:nvPr/>
          </p:nvCxnSpPr>
          <p:spPr>
            <a:xfrm>
              <a:off x="5393060" y="3850592"/>
              <a:ext cx="0" cy="878792"/>
            </a:xfrm>
            <a:prstGeom prst="line">
              <a:avLst/>
            </a:prstGeom>
            <a:ln w="762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F79A5F1B-D2D2-C8D6-C495-BAF8B27AD929}"/>
                </a:ext>
              </a:extLst>
            </p:cNvPr>
            <p:cNvCxnSpPr>
              <a:cxnSpLocks/>
            </p:cNvCxnSpPr>
            <p:nvPr/>
          </p:nvCxnSpPr>
          <p:spPr>
            <a:xfrm>
              <a:off x="7049060" y="3850592"/>
              <a:ext cx="0" cy="878792"/>
            </a:xfrm>
            <a:prstGeom prst="line">
              <a:avLst/>
            </a:prstGeom>
            <a:ln w="762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mit Pfeil 11">
              <a:extLst>
                <a:ext uri="{FF2B5EF4-FFF2-40B4-BE49-F238E27FC236}">
                  <a16:creationId xmlns:a16="http://schemas.microsoft.com/office/drawing/2014/main" id="{21FDAD75-649B-88E3-85CB-47DAD15F82E7}"/>
                </a:ext>
              </a:extLst>
            </p:cNvPr>
            <p:cNvCxnSpPr/>
            <p:nvPr/>
          </p:nvCxnSpPr>
          <p:spPr>
            <a:xfrm flipV="1">
              <a:off x="6221060" y="2559723"/>
              <a:ext cx="0" cy="1730265"/>
            </a:xfrm>
            <a:prstGeom prst="straightConnector1">
              <a:avLst/>
            </a:prstGeom>
            <a:ln w="38100">
              <a:solidFill>
                <a:srgbClr val="0070C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" name="Bogen 18">
            <a:extLst>
              <a:ext uri="{FF2B5EF4-FFF2-40B4-BE49-F238E27FC236}">
                <a16:creationId xmlns:a16="http://schemas.microsoft.com/office/drawing/2014/main" id="{4BF7F703-9606-8F83-0CAA-A196F3CBC3A1}"/>
              </a:ext>
            </a:extLst>
          </p:cNvPr>
          <p:cNvSpPr/>
          <p:nvPr/>
        </p:nvSpPr>
        <p:spPr>
          <a:xfrm rot="598903">
            <a:off x="6978734" y="3024720"/>
            <a:ext cx="914400" cy="914400"/>
          </a:xfrm>
          <a:prstGeom prst="arc">
            <a:avLst>
              <a:gd name="adj1" fmla="val 16655675"/>
              <a:gd name="adj2" fmla="val 0"/>
            </a:avLst>
          </a:prstGeom>
          <a:ln w="38100">
            <a:solidFill>
              <a:schemeClr val="tx1"/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AT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0" name="Textfeld 19">
                <a:extLst>
                  <a:ext uri="{FF2B5EF4-FFF2-40B4-BE49-F238E27FC236}">
                    <a16:creationId xmlns:a16="http://schemas.microsoft.com/office/drawing/2014/main" id="{75F46C8F-CFA8-C0AE-184F-3F07A81A8254}"/>
                  </a:ext>
                </a:extLst>
              </p:cNvPr>
              <p:cNvSpPr txBox="1"/>
              <p:nvPr/>
            </p:nvSpPr>
            <p:spPr>
              <a:xfrm>
                <a:off x="7924294" y="2943329"/>
                <a:ext cx="466474" cy="49859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400"/>
                  </a:spcBef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AT" sz="3600" b="1" i="1" smtClean="0">
                          <a:latin typeface="Cambria Math" panose="020F0502020204030204" pitchFamily="18" charset="0"/>
                        </a:rPr>
                        <m:t>𝝍</m:t>
                      </m:r>
                    </m:oMath>
                  </m:oMathPara>
                </a14:m>
                <a:endParaRPr lang="de-AT" sz="1600" b="1" dirty="0" err="1"/>
              </a:p>
            </p:txBody>
          </p:sp>
        </mc:Choice>
        <mc:Fallback xmlns="">
          <p:sp>
            <p:nvSpPr>
              <p:cNvPr id="20" name="Textfeld 19">
                <a:extLst>
                  <a:ext uri="{FF2B5EF4-FFF2-40B4-BE49-F238E27FC236}">
                    <a16:creationId xmlns:a16="http://schemas.microsoft.com/office/drawing/2014/main" id="{75F46C8F-CFA8-C0AE-184F-3F07A81A825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924294" y="2943329"/>
                <a:ext cx="466474" cy="498598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AT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386235C4-6609-ED8C-2C8D-1E079C08947C}"/>
              </a:ext>
            </a:extLst>
          </p:cNvPr>
          <p:cNvCxnSpPr/>
          <p:nvPr/>
        </p:nvCxnSpPr>
        <p:spPr>
          <a:xfrm>
            <a:off x="6532194" y="3632348"/>
            <a:ext cx="1833860" cy="0"/>
          </a:xfrm>
          <a:prstGeom prst="line">
            <a:avLst/>
          </a:prstGeom>
          <a:ln w="285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mit Pfeil 25">
            <a:extLst>
              <a:ext uri="{FF2B5EF4-FFF2-40B4-BE49-F238E27FC236}">
                <a16:creationId xmlns:a16="http://schemas.microsoft.com/office/drawing/2014/main" id="{DAC5FD6D-AC50-0437-93D1-2657CCBBA047}"/>
              </a:ext>
            </a:extLst>
          </p:cNvPr>
          <p:cNvCxnSpPr/>
          <p:nvPr/>
        </p:nvCxnSpPr>
        <p:spPr>
          <a:xfrm flipV="1">
            <a:off x="4794191" y="3871245"/>
            <a:ext cx="0" cy="863125"/>
          </a:xfrm>
          <a:prstGeom prst="straightConnector1">
            <a:avLst/>
          </a:prstGeom>
          <a:ln w="762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05F0AF45-C038-62B6-3E1F-10316D3B6CF7}"/>
              </a:ext>
            </a:extLst>
          </p:cNvPr>
          <p:cNvCxnSpPr>
            <a:cxnSpLocks/>
          </p:cNvCxnSpPr>
          <p:nvPr/>
        </p:nvCxnSpPr>
        <p:spPr>
          <a:xfrm rot="5400000" flipV="1">
            <a:off x="5217208" y="4280020"/>
            <a:ext cx="0" cy="863125"/>
          </a:xfrm>
          <a:prstGeom prst="straightConnector1">
            <a:avLst/>
          </a:prstGeom>
          <a:ln w="762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feld 27">
            <a:extLst>
              <a:ext uri="{FF2B5EF4-FFF2-40B4-BE49-F238E27FC236}">
                <a16:creationId xmlns:a16="http://schemas.microsoft.com/office/drawing/2014/main" id="{83578507-79D1-A977-967D-F3E40DB4F1AF}"/>
              </a:ext>
            </a:extLst>
          </p:cNvPr>
          <p:cNvSpPr txBox="1"/>
          <p:nvPr/>
        </p:nvSpPr>
        <p:spPr>
          <a:xfrm>
            <a:off x="4916465" y="3481920"/>
            <a:ext cx="430754" cy="4985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r>
              <a:rPr lang="de-AT" sz="3600" b="1" dirty="0"/>
              <a:t>y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F8B6C91B-ADB7-B4C2-9916-A16CA05B277C}"/>
              </a:ext>
            </a:extLst>
          </p:cNvPr>
          <p:cNvSpPr txBox="1"/>
          <p:nvPr/>
        </p:nvSpPr>
        <p:spPr>
          <a:xfrm>
            <a:off x="5704077" y="4352361"/>
            <a:ext cx="430754" cy="4985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r>
              <a:rPr lang="de-AT" sz="3600" b="1" dirty="0"/>
              <a:t>x</a:t>
            </a: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6C90D882-FE5F-D4D6-1CFD-912E09EBA2A4}"/>
              </a:ext>
            </a:extLst>
          </p:cNvPr>
          <p:cNvSpPr txBox="1"/>
          <p:nvPr/>
        </p:nvSpPr>
        <p:spPr>
          <a:xfrm>
            <a:off x="7585536" y="2228579"/>
            <a:ext cx="265701" cy="4985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r>
              <a:rPr lang="de-AT" sz="3600" b="1" dirty="0">
                <a:solidFill>
                  <a:srgbClr val="0070C0"/>
                </a:solidFill>
              </a:rPr>
              <a:t>V</a:t>
            </a:r>
          </a:p>
        </p:txBody>
      </p:sp>
      <p:sp>
        <p:nvSpPr>
          <p:cNvPr id="31" name="Bogen 30">
            <a:extLst>
              <a:ext uri="{FF2B5EF4-FFF2-40B4-BE49-F238E27FC236}">
                <a16:creationId xmlns:a16="http://schemas.microsoft.com/office/drawing/2014/main" id="{52A68E31-6801-A041-C7C1-BBD233484412}"/>
              </a:ext>
            </a:extLst>
          </p:cNvPr>
          <p:cNvSpPr/>
          <p:nvPr/>
        </p:nvSpPr>
        <p:spPr>
          <a:xfrm rot="598903">
            <a:off x="5916233" y="3306244"/>
            <a:ext cx="914400" cy="914400"/>
          </a:xfrm>
          <a:prstGeom prst="arc">
            <a:avLst>
              <a:gd name="adj1" fmla="val 16655675"/>
              <a:gd name="adj2" fmla="val 0"/>
            </a:avLst>
          </a:prstGeom>
          <a:ln w="38100">
            <a:solidFill>
              <a:srgbClr val="0070C0"/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AT" dirty="0">
              <a:solidFill>
                <a:srgbClr val="0070C0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2" name="Textfeld 31">
                <a:extLst>
                  <a:ext uri="{FF2B5EF4-FFF2-40B4-BE49-F238E27FC236}">
                    <a16:creationId xmlns:a16="http://schemas.microsoft.com/office/drawing/2014/main" id="{ABE755BE-BE88-1BE6-44AF-A64B52584022}"/>
                  </a:ext>
                </a:extLst>
              </p:cNvPr>
              <p:cNvSpPr txBox="1"/>
              <p:nvPr/>
            </p:nvSpPr>
            <p:spPr>
              <a:xfrm>
                <a:off x="6074032" y="3568208"/>
                <a:ext cx="476092" cy="49859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400"/>
                  </a:spcBef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AT" sz="3600" b="1" i="1" smtClean="0">
                          <a:solidFill>
                            <a:srgbClr val="0070C0"/>
                          </a:solidFill>
                          <a:latin typeface="Cambria Math" panose="020F0502020204030204" pitchFamily="18" charset="0"/>
                        </a:rPr>
                        <m:t>𝝎</m:t>
                      </m:r>
                    </m:oMath>
                  </m:oMathPara>
                </a14:m>
                <a:endParaRPr lang="de-AT" sz="1600" b="1" dirty="0" err="1">
                  <a:solidFill>
                    <a:srgbClr val="0070C0"/>
                  </a:solidFill>
                </a:endParaRPr>
              </a:p>
            </p:txBody>
          </p:sp>
        </mc:Choice>
        <mc:Fallback xmlns="">
          <p:sp>
            <p:nvSpPr>
              <p:cNvPr id="32" name="Textfeld 31">
                <a:extLst>
                  <a:ext uri="{FF2B5EF4-FFF2-40B4-BE49-F238E27FC236}">
                    <a16:creationId xmlns:a16="http://schemas.microsoft.com/office/drawing/2014/main" id="{ABE755BE-BE88-1BE6-44AF-A64B5258402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74032" y="3568208"/>
                <a:ext cx="476092" cy="498598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AT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6022259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F3D9D9-73CC-DAB3-7891-9923CCC3CF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3BAB327-4179-6AB9-4CAD-579690E0E0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1BE15DB-EC7B-C065-1CBC-BF8E6724405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AT"/>
          </a:p>
        </p:txBody>
      </p:sp>
      <p:pic>
        <p:nvPicPr>
          <p:cNvPr id="47106" name="Picture 2" descr="Stihl – iMOW 6 EVO – Mähroboter in Mistelbach (bei Wien) kaufen – Wir  lieben Technik ;-)">
            <a:extLst>
              <a:ext uri="{FF2B5EF4-FFF2-40B4-BE49-F238E27FC236}">
                <a16:creationId xmlns:a16="http://schemas.microsoft.com/office/drawing/2014/main" id="{6E427430-49D2-EE4A-962A-4EA6D3B59A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3355782">
            <a:off x="4777766" y="2018848"/>
            <a:ext cx="4067130" cy="27064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Bogen 18">
            <a:extLst>
              <a:ext uri="{FF2B5EF4-FFF2-40B4-BE49-F238E27FC236}">
                <a16:creationId xmlns:a16="http://schemas.microsoft.com/office/drawing/2014/main" id="{D5FE4398-C66C-934C-450B-E3E23DD7C5DF}"/>
              </a:ext>
            </a:extLst>
          </p:cNvPr>
          <p:cNvSpPr/>
          <p:nvPr/>
        </p:nvSpPr>
        <p:spPr>
          <a:xfrm rot="598903">
            <a:off x="6978734" y="3024720"/>
            <a:ext cx="914400" cy="914400"/>
          </a:xfrm>
          <a:prstGeom prst="arc">
            <a:avLst>
              <a:gd name="adj1" fmla="val 16655675"/>
              <a:gd name="adj2" fmla="val 0"/>
            </a:avLst>
          </a:prstGeom>
          <a:ln w="38100">
            <a:solidFill>
              <a:schemeClr val="tx1"/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AT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0" name="Textfeld 19">
                <a:extLst>
                  <a:ext uri="{FF2B5EF4-FFF2-40B4-BE49-F238E27FC236}">
                    <a16:creationId xmlns:a16="http://schemas.microsoft.com/office/drawing/2014/main" id="{E64E9859-3507-FBC3-0E52-779860A2CAF2}"/>
                  </a:ext>
                </a:extLst>
              </p:cNvPr>
              <p:cNvSpPr txBox="1"/>
              <p:nvPr/>
            </p:nvSpPr>
            <p:spPr>
              <a:xfrm>
                <a:off x="7924294" y="2943329"/>
                <a:ext cx="466474" cy="49859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400"/>
                  </a:spcBef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AT" sz="3600" b="1" i="1" smtClean="0">
                          <a:latin typeface="Cambria Math" panose="020F0502020204030204" pitchFamily="18" charset="0"/>
                        </a:rPr>
                        <m:t>𝝍</m:t>
                      </m:r>
                    </m:oMath>
                  </m:oMathPara>
                </a14:m>
                <a:endParaRPr lang="de-AT" sz="1600" b="1" dirty="0" err="1"/>
              </a:p>
            </p:txBody>
          </p:sp>
        </mc:Choice>
        <mc:Fallback xmlns="">
          <p:sp>
            <p:nvSpPr>
              <p:cNvPr id="20" name="Textfeld 19">
                <a:extLst>
                  <a:ext uri="{FF2B5EF4-FFF2-40B4-BE49-F238E27FC236}">
                    <a16:creationId xmlns:a16="http://schemas.microsoft.com/office/drawing/2014/main" id="{75F46C8F-CFA8-C0AE-184F-3F07A81A825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924294" y="2943329"/>
                <a:ext cx="466474" cy="498598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AT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7E4EE30E-8C30-FAF7-7FE8-B0F0AC6DAF33}"/>
              </a:ext>
            </a:extLst>
          </p:cNvPr>
          <p:cNvCxnSpPr/>
          <p:nvPr/>
        </p:nvCxnSpPr>
        <p:spPr>
          <a:xfrm>
            <a:off x="6532194" y="3632348"/>
            <a:ext cx="1833860" cy="0"/>
          </a:xfrm>
          <a:prstGeom prst="line">
            <a:avLst/>
          </a:prstGeom>
          <a:ln w="285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mit Pfeil 25">
            <a:extLst>
              <a:ext uri="{FF2B5EF4-FFF2-40B4-BE49-F238E27FC236}">
                <a16:creationId xmlns:a16="http://schemas.microsoft.com/office/drawing/2014/main" id="{3BB5FE7F-3FC4-18C5-6664-1765FAC2EDBB}"/>
              </a:ext>
            </a:extLst>
          </p:cNvPr>
          <p:cNvCxnSpPr/>
          <p:nvPr/>
        </p:nvCxnSpPr>
        <p:spPr>
          <a:xfrm flipV="1">
            <a:off x="4794191" y="3871245"/>
            <a:ext cx="0" cy="863125"/>
          </a:xfrm>
          <a:prstGeom prst="straightConnector1">
            <a:avLst/>
          </a:prstGeom>
          <a:ln w="762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0AA5868B-2E7F-7D01-E40E-49BD0A178C83}"/>
              </a:ext>
            </a:extLst>
          </p:cNvPr>
          <p:cNvCxnSpPr>
            <a:cxnSpLocks/>
          </p:cNvCxnSpPr>
          <p:nvPr/>
        </p:nvCxnSpPr>
        <p:spPr>
          <a:xfrm rot="5400000" flipV="1">
            <a:off x="5217208" y="4280020"/>
            <a:ext cx="0" cy="863125"/>
          </a:xfrm>
          <a:prstGeom prst="straightConnector1">
            <a:avLst/>
          </a:prstGeom>
          <a:ln w="762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feld 27">
            <a:extLst>
              <a:ext uri="{FF2B5EF4-FFF2-40B4-BE49-F238E27FC236}">
                <a16:creationId xmlns:a16="http://schemas.microsoft.com/office/drawing/2014/main" id="{478AF462-C0EF-7772-897A-2D74C591D28D}"/>
              </a:ext>
            </a:extLst>
          </p:cNvPr>
          <p:cNvSpPr txBox="1"/>
          <p:nvPr/>
        </p:nvSpPr>
        <p:spPr>
          <a:xfrm>
            <a:off x="4916465" y="3481920"/>
            <a:ext cx="430754" cy="4985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r>
              <a:rPr lang="de-AT" sz="3600" b="1" dirty="0"/>
              <a:t>y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9052F244-4911-F578-8E0A-AC7534BDF404}"/>
              </a:ext>
            </a:extLst>
          </p:cNvPr>
          <p:cNvSpPr txBox="1"/>
          <p:nvPr/>
        </p:nvSpPr>
        <p:spPr>
          <a:xfrm>
            <a:off x="5704077" y="4352361"/>
            <a:ext cx="430754" cy="4985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r>
              <a:rPr lang="de-AT" sz="3600" b="1" dirty="0"/>
              <a:t>x</a:t>
            </a:r>
          </a:p>
        </p:txBody>
      </p:sp>
      <p:sp>
        <p:nvSpPr>
          <p:cNvPr id="4" name="Freihandform: Form 3">
            <a:extLst>
              <a:ext uri="{FF2B5EF4-FFF2-40B4-BE49-F238E27FC236}">
                <a16:creationId xmlns:a16="http://schemas.microsoft.com/office/drawing/2014/main" id="{17D86472-7D0F-1971-A4B7-70A2B80BBEFA}"/>
              </a:ext>
            </a:extLst>
          </p:cNvPr>
          <p:cNvSpPr/>
          <p:nvPr/>
        </p:nvSpPr>
        <p:spPr>
          <a:xfrm>
            <a:off x="7765879" y="2042294"/>
            <a:ext cx="3580688" cy="1316052"/>
          </a:xfrm>
          <a:custGeom>
            <a:avLst/>
            <a:gdLst>
              <a:gd name="connsiteX0" fmla="*/ 0 w 3580688"/>
              <a:gd name="connsiteY0" fmla="*/ 752030 h 1316052"/>
              <a:gd name="connsiteX1" fmla="*/ 111096 w 3580688"/>
              <a:gd name="connsiteY1" fmla="*/ 675118 h 1316052"/>
              <a:gd name="connsiteX2" fmla="*/ 188008 w 3580688"/>
              <a:gd name="connsiteY2" fmla="*/ 666572 h 1316052"/>
              <a:gd name="connsiteX3" fmla="*/ 256374 w 3580688"/>
              <a:gd name="connsiteY3" fmla="*/ 658026 h 1316052"/>
              <a:gd name="connsiteX4" fmla="*/ 752030 w 3580688"/>
              <a:gd name="connsiteY4" fmla="*/ 717847 h 1316052"/>
              <a:gd name="connsiteX5" fmla="*/ 1016950 w 3580688"/>
              <a:gd name="connsiteY5" fmla="*/ 880217 h 1316052"/>
              <a:gd name="connsiteX6" fmla="*/ 1273324 w 3580688"/>
              <a:gd name="connsiteY6" fmla="*/ 1068224 h 1316052"/>
              <a:gd name="connsiteX7" fmla="*/ 1709159 w 3580688"/>
              <a:gd name="connsiteY7" fmla="*/ 1230595 h 1316052"/>
              <a:gd name="connsiteX8" fmla="*/ 1905712 w 3580688"/>
              <a:gd name="connsiteY8" fmla="*/ 1290415 h 1316052"/>
              <a:gd name="connsiteX9" fmla="*/ 2042445 w 3580688"/>
              <a:gd name="connsiteY9" fmla="*/ 1316052 h 1316052"/>
              <a:gd name="connsiteX10" fmla="*/ 2324456 w 3580688"/>
              <a:gd name="connsiteY10" fmla="*/ 1273324 h 1316052"/>
              <a:gd name="connsiteX11" fmla="*/ 2657742 w 3580688"/>
              <a:gd name="connsiteY11" fmla="*/ 1025495 h 1316052"/>
              <a:gd name="connsiteX12" fmla="*/ 3042303 w 3580688"/>
              <a:gd name="connsiteY12" fmla="*/ 683664 h 1316052"/>
              <a:gd name="connsiteX13" fmla="*/ 3187582 w 3580688"/>
              <a:gd name="connsiteY13" fmla="*/ 529839 h 1316052"/>
              <a:gd name="connsiteX14" fmla="*/ 3375589 w 3580688"/>
              <a:gd name="connsiteY14" fmla="*/ 299103 h 1316052"/>
              <a:gd name="connsiteX15" fmla="*/ 3537959 w 3580688"/>
              <a:gd name="connsiteY15" fmla="*/ 42729 h 1316052"/>
              <a:gd name="connsiteX16" fmla="*/ 3580688 w 3580688"/>
              <a:gd name="connsiteY16" fmla="*/ 0 h 13160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580688" h="1316052">
                <a:moveTo>
                  <a:pt x="0" y="752030"/>
                </a:moveTo>
                <a:cubicBezTo>
                  <a:pt x="30806" y="726359"/>
                  <a:pt x="71300" y="687554"/>
                  <a:pt x="111096" y="675118"/>
                </a:cubicBezTo>
                <a:cubicBezTo>
                  <a:pt x="135717" y="667424"/>
                  <a:pt x="162390" y="669586"/>
                  <a:pt x="188008" y="666572"/>
                </a:cubicBezTo>
                <a:lnTo>
                  <a:pt x="256374" y="658026"/>
                </a:lnTo>
                <a:cubicBezTo>
                  <a:pt x="431655" y="672335"/>
                  <a:pt x="594436" y="652184"/>
                  <a:pt x="752030" y="717847"/>
                </a:cubicBezTo>
                <a:cubicBezTo>
                  <a:pt x="876311" y="769630"/>
                  <a:pt x="909593" y="788196"/>
                  <a:pt x="1016950" y="880217"/>
                </a:cubicBezTo>
                <a:cubicBezTo>
                  <a:pt x="1090952" y="943648"/>
                  <a:pt x="1196266" y="1037401"/>
                  <a:pt x="1273324" y="1068224"/>
                </a:cubicBezTo>
                <a:cubicBezTo>
                  <a:pt x="1482705" y="1151977"/>
                  <a:pt x="1493202" y="1160078"/>
                  <a:pt x="1709159" y="1230595"/>
                </a:cubicBezTo>
                <a:cubicBezTo>
                  <a:pt x="1774261" y="1251853"/>
                  <a:pt x="1839373" y="1273405"/>
                  <a:pt x="1905712" y="1290415"/>
                </a:cubicBezTo>
                <a:cubicBezTo>
                  <a:pt x="1950631" y="1301933"/>
                  <a:pt x="1996867" y="1307506"/>
                  <a:pt x="2042445" y="1316052"/>
                </a:cubicBezTo>
                <a:cubicBezTo>
                  <a:pt x="2136449" y="1301809"/>
                  <a:pt x="2234957" y="1305409"/>
                  <a:pt x="2324456" y="1273324"/>
                </a:cubicBezTo>
                <a:cubicBezTo>
                  <a:pt x="2368363" y="1257584"/>
                  <a:pt x="2622743" y="1054537"/>
                  <a:pt x="2657742" y="1025495"/>
                </a:cubicBezTo>
                <a:cubicBezTo>
                  <a:pt x="2779858" y="924164"/>
                  <a:pt x="2926659" y="799308"/>
                  <a:pt x="3042303" y="683664"/>
                </a:cubicBezTo>
                <a:cubicBezTo>
                  <a:pt x="3092174" y="633793"/>
                  <a:pt x="3141391" y="583136"/>
                  <a:pt x="3187582" y="529839"/>
                </a:cubicBezTo>
                <a:cubicBezTo>
                  <a:pt x="3252558" y="454866"/>
                  <a:pt x="3322506" y="382919"/>
                  <a:pt x="3375589" y="299103"/>
                </a:cubicBezTo>
                <a:cubicBezTo>
                  <a:pt x="3429712" y="213645"/>
                  <a:pt x="3477266" y="123654"/>
                  <a:pt x="3537959" y="42729"/>
                </a:cubicBezTo>
                <a:cubicBezTo>
                  <a:pt x="3567418" y="3450"/>
                  <a:pt x="3550857" y="14916"/>
                  <a:pt x="3580688" y="0"/>
                </a:cubicBezTo>
              </a:path>
            </a:pathLst>
          </a:cu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1610009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ETTe1mSV.Cm4EVc0csL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zr7RcHSxecPfjmbUJud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rizpMrTy6lgA5SCokSf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Gq4e5bTnOyd7mCDKqzh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CO7J0OS_uYu83qu2IS0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F85tvmTV.2trNKwozeA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4L0avzTJ2I6Oy1dIR0c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OEdoRNTiaKeA_qVRivR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8H0BhERUq65Lpj817p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3uUovv2ReqtIUggFzPpZ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6IIGFvQyGz90E2L5DZm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4g5UG1QUKtI8SxcSTf2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CO7J0OS_uYu83qu2IS0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VArru6TV6RGD66rY_n0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TIHL">
  <a:themeElements>
    <a:clrScheme name="STILHL_CD">
      <a:dk1>
        <a:sysClr val="windowText" lastClr="000000"/>
      </a:dk1>
      <a:lt1>
        <a:sysClr val="window" lastClr="FFFFFF"/>
      </a:lt1>
      <a:dk2>
        <a:srgbClr val="B1B1B1"/>
      </a:dk2>
      <a:lt2>
        <a:srgbClr val="E7E6E6"/>
      </a:lt2>
      <a:accent1>
        <a:srgbClr val="000000"/>
      </a:accent1>
      <a:accent2>
        <a:srgbClr val="F37A1F"/>
      </a:accent2>
      <a:accent3>
        <a:srgbClr val="B1B1B1"/>
      </a:accent3>
      <a:accent4>
        <a:srgbClr val="749F4A"/>
      </a:accent4>
      <a:accent5>
        <a:srgbClr val="249ABE"/>
      </a:accent5>
      <a:accent6>
        <a:srgbClr val="FDC543"/>
      </a:accent6>
      <a:hlink>
        <a:srgbClr val="D43B3B"/>
      </a:hlink>
      <a:folHlink>
        <a:srgbClr val="878787"/>
      </a:folHlink>
    </a:clrScheme>
    <a:fontScheme name="STIHL_MASTER">
      <a:majorFont>
        <a:latin typeface="STIHL Contraface Text"/>
        <a:ea typeface=""/>
        <a:cs typeface=""/>
      </a:majorFont>
      <a:minorFont>
        <a:latin typeface="STIHL Contraface Tex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6350">
          <a:solidFill>
            <a:schemeClr val="tx1"/>
          </a:solidFill>
        </a:ln>
      </a:spPr>
      <a:bodyPr lIns="72000" tIns="72000" rIns="72000" bIns="72000" rtlCol="0" anchor="ctr"/>
      <a:lstStyle>
        <a:defPPr algn="ctr">
          <a:lnSpc>
            <a:spcPct val="90000"/>
          </a:lnSpc>
          <a:defRPr sz="1600" b="1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lnSpc>
            <a:spcPct val="90000"/>
          </a:lnSpc>
          <a:spcBef>
            <a:spcPts val="400"/>
          </a:spcBef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01_STIHL_PPT_Template_DE_16_9_NEU.potx" id="{19D64F65-DB83-4976-B3EB-B8DB31204112}" vid="{EE63CAB5-1ED8-465B-BE8A-91004C1EB998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967CD2BC5609794A8CF1C7D1573FFEFD" ma:contentTypeVersion="16" ma:contentTypeDescription="Ein neues Dokument erstellen." ma:contentTypeScope="" ma:versionID="89098beee005c7d90945394ed410e691">
  <xsd:schema xmlns:xsd="http://www.w3.org/2001/XMLSchema" xmlns:xs="http://www.w3.org/2001/XMLSchema" xmlns:p="http://schemas.microsoft.com/office/2006/metadata/properties" xmlns:ns2="440564f8-b556-4b1e-a223-b03fde6ebdd8" xmlns:ns3="7c342989-3f08-444d-ada8-662cb4bd2dfe" targetNamespace="http://schemas.microsoft.com/office/2006/metadata/properties" ma:root="true" ma:fieldsID="2d7113c59b75cc2ff413754a32dc7491" ns2:_="" ns3:_="">
    <xsd:import namespace="440564f8-b556-4b1e-a223-b03fde6ebdd8"/>
    <xsd:import namespace="7c342989-3f08-444d-ada8-662cb4bd2df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MediaServiceLocation" minOccurs="0"/>
                <xsd:element ref="ns2:MediaLengthInSeconds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40564f8-b556-4b1e-a223-b03fde6ebdd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Bildmarkierungen" ma:readOnly="false" ma:fieldId="{5cf76f15-5ced-4ddc-b409-7134ff3c332f}" ma:taxonomyMulti="true" ma:sspId="c751d313-418a-41e7-8296-c801e9c6f9b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7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3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c342989-3f08-444d-ada8-662cb4bd2dfe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411ef1d2-9e9b-4f02-bc6f-8472ec63939a}" ma:internalName="TaxCatchAll" ma:showField="CatchAllData" ma:web="7c342989-3f08-444d-ada8-662cb4bd2df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440564f8-b556-4b1e-a223-b03fde6ebdd8">
      <Terms xmlns="http://schemas.microsoft.com/office/infopath/2007/PartnerControls"/>
    </lcf76f155ced4ddcb4097134ff3c332f>
    <TaxCatchAll xmlns="7c342989-3f08-444d-ada8-662cb4bd2dfe" xsi:nil="true"/>
  </documentManagement>
</p:properties>
</file>

<file path=customXml/itemProps1.xml><?xml version="1.0" encoding="utf-8"?>
<ds:datastoreItem xmlns:ds="http://schemas.openxmlformats.org/officeDocument/2006/customXml" ds:itemID="{AC2B248D-5BD0-4225-B2D5-A4E095A736BD}"/>
</file>

<file path=customXml/itemProps2.xml><?xml version="1.0" encoding="utf-8"?>
<ds:datastoreItem xmlns:ds="http://schemas.openxmlformats.org/officeDocument/2006/customXml" ds:itemID="{678C58CF-B062-4FCA-93FF-265B753A5209}"/>
</file>

<file path=customXml/itemProps3.xml><?xml version="1.0" encoding="utf-8"?>
<ds:datastoreItem xmlns:ds="http://schemas.openxmlformats.org/officeDocument/2006/customXml" ds:itemID="{D3CA456F-1B78-4A2F-9125-856E499B5BD9}"/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3</Words>
  <Application>Microsoft Office PowerPoint</Application>
  <PresentationFormat>Breitbild</PresentationFormat>
  <Paragraphs>23</Paragraphs>
  <Slides>4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</vt:i4>
      </vt:variant>
    </vt:vector>
  </HeadingPairs>
  <TitlesOfParts>
    <vt:vector size="11" baseType="lpstr">
      <vt:lpstr>Arial</vt:lpstr>
      <vt:lpstr>Calibri</vt:lpstr>
      <vt:lpstr>Cambria Math</vt:lpstr>
      <vt:lpstr>STIHL Contraface Display Title</vt:lpstr>
      <vt:lpstr>STIHL Contraface Text</vt:lpstr>
      <vt:lpstr>STIHL</vt:lpstr>
      <vt:lpstr>think-cell Folie</vt:lpstr>
      <vt:lpstr>PowerPoint-Präsentation</vt:lpstr>
      <vt:lpstr>PowerPoint-Präsentation</vt:lpstr>
      <vt:lpstr>PowerPoint-Präsentation</vt:lpstr>
      <vt:lpstr>PowerPoint-Präsentation</vt:lpstr>
    </vt:vector>
  </TitlesOfParts>
  <Company>STIH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AT/ESS-pw Wolf, Philip</dc:creator>
  <cp:lastModifiedBy>AT/ESS-pw Wolf, Philip</cp:lastModifiedBy>
  <cp:revision>1</cp:revision>
  <dcterms:created xsi:type="dcterms:W3CDTF">2024-11-25T10:27:59Z</dcterms:created>
  <dcterms:modified xsi:type="dcterms:W3CDTF">2024-11-27T14:52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336f76c-dfa2-4ce6-8362-305539f7b79a_Enabled">
    <vt:lpwstr>true</vt:lpwstr>
  </property>
  <property fmtid="{D5CDD505-2E9C-101B-9397-08002B2CF9AE}" pid="3" name="MSIP_Label_f336f76c-dfa2-4ce6-8362-305539f7b79a_SetDate">
    <vt:lpwstr>2024-11-25T13:59:05Z</vt:lpwstr>
  </property>
  <property fmtid="{D5CDD505-2E9C-101B-9397-08002B2CF9AE}" pid="4" name="MSIP_Label_f336f76c-dfa2-4ce6-8362-305539f7b79a_Method">
    <vt:lpwstr>Standard</vt:lpwstr>
  </property>
  <property fmtid="{D5CDD505-2E9C-101B-9397-08002B2CF9AE}" pid="5" name="MSIP_Label_f336f76c-dfa2-4ce6-8362-305539f7b79a_Name">
    <vt:lpwstr>Internal</vt:lpwstr>
  </property>
  <property fmtid="{D5CDD505-2E9C-101B-9397-08002B2CF9AE}" pid="6" name="MSIP_Label_f336f76c-dfa2-4ce6-8362-305539f7b79a_SiteId">
    <vt:lpwstr>702ed1df-fbf3-42e7-a14d-db80a314e632</vt:lpwstr>
  </property>
  <property fmtid="{D5CDD505-2E9C-101B-9397-08002B2CF9AE}" pid="7" name="MSIP_Label_f336f76c-dfa2-4ce6-8362-305539f7b79a_ActionId">
    <vt:lpwstr>1d69cd41-f7f7-4d4c-b495-df528eb45748</vt:lpwstr>
  </property>
  <property fmtid="{D5CDD505-2E9C-101B-9397-08002B2CF9AE}" pid="8" name="MSIP_Label_f336f76c-dfa2-4ce6-8362-305539f7b79a_ContentBits">
    <vt:lpwstr>1</vt:lpwstr>
  </property>
  <property fmtid="{D5CDD505-2E9C-101B-9397-08002B2CF9AE}" pid="9" name="ClassificationContentMarkingHeaderLocations">
    <vt:lpwstr>STIHL:4</vt:lpwstr>
  </property>
  <property fmtid="{D5CDD505-2E9C-101B-9397-08002B2CF9AE}" pid="10" name="ClassificationContentMarkingHeaderText">
    <vt:lpwstr>Intern | Internal</vt:lpwstr>
  </property>
  <property fmtid="{D5CDD505-2E9C-101B-9397-08002B2CF9AE}" pid="11" name="ContentTypeId">
    <vt:lpwstr>0x010100967CD2BC5609794A8CF1C7D1573FFEFD</vt:lpwstr>
  </property>
</Properties>
</file>